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2.xml" ContentType="application/vnd.openxmlformats-officedocument.theme+xml"/>
  <Override PartName="/ppt/tags/tag4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319" r:id="rId1"/>
  </p:sldMasterIdLst>
  <p:notesMasterIdLst>
    <p:notesMasterId r:id="rId11"/>
  </p:notesMasterIdLst>
  <p:sldIdLst>
    <p:sldId id="321" r:id="rId2"/>
    <p:sldId id="286" r:id="rId3"/>
    <p:sldId id="312" r:id="rId4"/>
    <p:sldId id="322" r:id="rId5"/>
    <p:sldId id="323" r:id="rId6"/>
    <p:sldId id="324" r:id="rId7"/>
    <p:sldId id="325" r:id="rId8"/>
    <p:sldId id="326" r:id="rId9"/>
    <p:sldId id="320" r:id="rId10"/>
  </p:sldIdLst>
  <p:sldSz cx="12192000" cy="6858000"/>
  <p:notesSz cx="9931400" cy="6794500"/>
  <p:custDataLst>
    <p:tags r:id="rId12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525" userDrawn="1">
          <p15:clr>
            <a:srgbClr val="A4A3A4"/>
          </p15:clr>
        </p15:guide>
        <p15:guide id="2" pos="546" userDrawn="1">
          <p15:clr>
            <a:srgbClr val="A4A3A4"/>
          </p15:clr>
        </p15:guide>
        <p15:guide id="3" orient="horz" pos="436" userDrawn="1">
          <p15:clr>
            <a:srgbClr val="A4A3A4"/>
          </p15:clr>
        </p15:guide>
        <p15:guide id="4" orient="horz" pos="1389" userDrawn="1">
          <p15:clr>
            <a:srgbClr val="A4A3A4"/>
          </p15:clr>
        </p15:guide>
        <p15:guide id="5" pos="411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лександр Морозов" initials="АМ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71" autoAdjust="0"/>
    <p:restoredTop sz="94660" autoAdjust="0"/>
  </p:normalViewPr>
  <p:slideViewPr>
    <p:cSldViewPr>
      <p:cViewPr varScale="1">
        <p:scale>
          <a:sx n="60" d="100"/>
          <a:sy n="60" d="100"/>
        </p:scale>
        <p:origin x="-426" y="-84"/>
      </p:cViewPr>
      <p:guideLst>
        <p:guide orient="horz" pos="1525"/>
        <p:guide orient="horz" pos="436"/>
        <p:guide orient="horz" pos="1389"/>
        <p:guide pos="546"/>
        <p:guide pos="411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738CE7F-9246-493F-81FC-4CFA130F10DD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E4348BE-A076-40CC-8434-3FD66A6FB946}">
      <dgm:prSet phldrT="[Текст]" custT="1">
        <dgm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sz="1800" b="1" dirty="0" smtClean="0">
              <a:solidFill>
                <a:srgbClr val="002060"/>
              </a:solidFill>
            </a:rPr>
            <a:t>Комитет</a:t>
          </a:r>
          <a:r>
            <a:rPr lang="ru-RU" sz="1200" dirty="0" smtClean="0">
              <a:solidFill>
                <a:schemeClr val="accent5"/>
              </a:solidFill>
            </a:rPr>
            <a:t> </a:t>
          </a:r>
          <a:endParaRPr lang="ru-RU" sz="1200" dirty="0">
            <a:solidFill>
              <a:schemeClr val="accent5"/>
            </a:solidFill>
          </a:endParaRPr>
        </a:p>
      </dgm:t>
    </dgm:pt>
    <dgm:pt modelId="{3293ECF0-6312-4E5C-A1D2-D3AE8E7D0B85}" type="parTrans" cxnId="{C63A9C40-1273-4140-803D-36EFB7793738}">
      <dgm:prSet/>
      <dgm:spPr/>
      <dgm:t>
        <a:bodyPr/>
        <a:lstStyle/>
        <a:p>
          <a:endParaRPr lang="ru-RU" sz="1200"/>
        </a:p>
      </dgm:t>
    </dgm:pt>
    <dgm:pt modelId="{E70E869C-9014-451A-BF66-B9D731CC738A}" type="sibTrans" cxnId="{C63A9C40-1273-4140-803D-36EFB7793738}">
      <dgm:prSet/>
      <dgm:spPr/>
      <dgm:t>
        <a:bodyPr/>
        <a:lstStyle/>
        <a:p>
          <a:endParaRPr lang="ru-RU" sz="1200"/>
        </a:p>
      </dgm:t>
    </dgm:pt>
    <dgm:pt modelId="{793ABA90-473B-4792-A1F0-9AC01C347B93}">
      <dgm:prSet phldrT="[Текст]" custT="1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400" b="1" dirty="0" smtClean="0">
              <a:solidFill>
                <a:srgbClr val="002060"/>
              </a:solidFill>
            </a:rPr>
            <a:t>Процедурный контроль</a:t>
          </a:r>
          <a:endParaRPr lang="ru-RU" sz="1400" b="1" dirty="0">
            <a:solidFill>
              <a:srgbClr val="002060"/>
            </a:solidFill>
          </a:endParaRPr>
        </a:p>
      </dgm:t>
    </dgm:pt>
    <dgm:pt modelId="{A6E144A0-3206-49A1-A42A-A839F5E71A3D}" type="parTrans" cxnId="{3809263D-A9E9-4DDB-9A46-AD12304BA596}">
      <dgm:prSet/>
      <dgm:spPr>
        <a:ln w="12700">
          <a:solidFill>
            <a:schemeClr val="bg1">
              <a:lumMod val="50000"/>
            </a:schemeClr>
          </a:solidFill>
        </a:ln>
      </dgm:spPr>
      <dgm:t>
        <a:bodyPr/>
        <a:lstStyle/>
        <a:p>
          <a:endParaRPr lang="ru-RU" sz="1200"/>
        </a:p>
      </dgm:t>
    </dgm:pt>
    <dgm:pt modelId="{189F0465-002D-4F5B-90BD-9F2DEA21F2B5}" type="sibTrans" cxnId="{3809263D-A9E9-4DDB-9A46-AD12304BA596}">
      <dgm:prSet/>
      <dgm:spPr/>
      <dgm:t>
        <a:bodyPr/>
        <a:lstStyle/>
        <a:p>
          <a:endParaRPr lang="ru-RU" sz="1200"/>
        </a:p>
      </dgm:t>
    </dgm:pt>
    <dgm:pt modelId="{05E8E5C6-BD09-4A8A-9AD2-50FFD1BA0084}">
      <dgm:prSet phldrT="[Текст]" custT="1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400" b="1" dirty="0" smtClean="0">
              <a:solidFill>
                <a:srgbClr val="002060"/>
              </a:solidFill>
            </a:rPr>
            <a:t>Внутренний </a:t>
          </a:r>
        </a:p>
        <a:p>
          <a:r>
            <a:rPr lang="ru-RU" sz="1400" b="1" dirty="0" smtClean="0">
              <a:solidFill>
                <a:srgbClr val="002060"/>
              </a:solidFill>
            </a:rPr>
            <a:t>финансовый контроль</a:t>
          </a:r>
          <a:endParaRPr lang="ru-RU" sz="1400" b="1" dirty="0">
            <a:solidFill>
              <a:srgbClr val="002060"/>
            </a:solidFill>
          </a:endParaRPr>
        </a:p>
      </dgm:t>
    </dgm:pt>
    <dgm:pt modelId="{1A91F988-A717-4BA8-AB05-BAF9A4D4A62A}" type="parTrans" cxnId="{7F9DB156-DB92-463D-8F2D-F5A2678E64F9}">
      <dgm:prSet/>
      <dgm:spPr>
        <a:ln w="9525">
          <a:solidFill>
            <a:schemeClr val="bg1">
              <a:lumMod val="50000"/>
            </a:schemeClr>
          </a:solidFill>
        </a:ln>
      </dgm:spPr>
      <dgm:t>
        <a:bodyPr/>
        <a:lstStyle/>
        <a:p>
          <a:endParaRPr lang="ru-RU" sz="1200"/>
        </a:p>
      </dgm:t>
    </dgm:pt>
    <dgm:pt modelId="{2B3C93DB-ABCD-4D6B-B80B-26F578F44D07}" type="sibTrans" cxnId="{7F9DB156-DB92-463D-8F2D-F5A2678E64F9}">
      <dgm:prSet/>
      <dgm:spPr/>
      <dgm:t>
        <a:bodyPr/>
        <a:lstStyle/>
        <a:p>
          <a:endParaRPr lang="ru-RU" sz="1200"/>
        </a:p>
      </dgm:t>
    </dgm:pt>
    <dgm:pt modelId="{ED1CE765-554E-4B25-BE60-ED536B352E19}">
      <dgm:prSet phldrT="[Текст]" custT="1">
        <dgm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400" b="1" dirty="0" smtClean="0">
              <a:solidFill>
                <a:srgbClr val="002060"/>
              </a:solidFill>
            </a:rPr>
            <a:t>Контроль за исполнением поручений губернатора и иные полномочия </a:t>
          </a:r>
          <a:endParaRPr lang="ru-RU" sz="1400" b="1" dirty="0">
            <a:solidFill>
              <a:srgbClr val="002060"/>
            </a:solidFill>
          </a:endParaRPr>
        </a:p>
      </dgm:t>
    </dgm:pt>
    <dgm:pt modelId="{6C08F01F-158E-44FE-91C8-272E7B46D496}" type="parTrans" cxnId="{DD565AA2-2E0E-4985-AAEF-934913ED9CD5}">
      <dgm:prSet/>
      <dgm:spPr>
        <a:ln w="9525">
          <a:solidFill>
            <a:schemeClr val="bg1">
              <a:lumMod val="50000"/>
            </a:schemeClr>
          </a:solidFill>
        </a:ln>
      </dgm:spPr>
      <dgm:t>
        <a:bodyPr/>
        <a:lstStyle/>
        <a:p>
          <a:endParaRPr lang="ru-RU"/>
        </a:p>
      </dgm:t>
    </dgm:pt>
    <dgm:pt modelId="{98D082D3-49D3-4D59-A27F-56786889C0FF}" type="sibTrans" cxnId="{DD565AA2-2E0E-4985-AAEF-934913ED9CD5}">
      <dgm:prSet/>
      <dgm:spPr/>
      <dgm:t>
        <a:bodyPr/>
        <a:lstStyle/>
        <a:p>
          <a:endParaRPr lang="ru-RU"/>
        </a:p>
      </dgm:t>
    </dgm:pt>
    <dgm:pt modelId="{7CAE810B-D76D-48D3-8864-66E05DD14BD0}" type="pres">
      <dgm:prSet presAssocID="{5738CE7F-9246-493F-81FC-4CFA130F10DD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4136ED91-281C-4E13-8F13-C4B83BF1BB1D}" type="pres">
      <dgm:prSet presAssocID="{8E4348BE-A076-40CC-8434-3FD66A6FB946}" presName="hierRoot1" presStyleCnt="0">
        <dgm:presLayoutVars>
          <dgm:hierBranch val="init"/>
        </dgm:presLayoutVars>
      </dgm:prSet>
      <dgm:spPr/>
    </dgm:pt>
    <dgm:pt modelId="{266C0D91-B501-472C-BD10-4C2AF5587112}" type="pres">
      <dgm:prSet presAssocID="{8E4348BE-A076-40CC-8434-3FD66A6FB946}" presName="rootComposite1" presStyleCnt="0"/>
      <dgm:spPr/>
    </dgm:pt>
    <dgm:pt modelId="{AFEFBE3F-2944-49BF-BC06-B786B040159D}" type="pres">
      <dgm:prSet presAssocID="{8E4348BE-A076-40CC-8434-3FD66A6FB946}" presName="rootText1" presStyleLbl="node0" presStyleIdx="0" presStyleCnt="1" custScaleX="156329" custScaleY="156329" custLinFactNeighborX="3618" custLinFactNeighborY="3417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F01B5906-C573-4454-8482-9F66AA00CBE4}" type="pres">
      <dgm:prSet presAssocID="{8E4348BE-A076-40CC-8434-3FD66A6FB946}" presName="rootConnector1" presStyleLbl="node1" presStyleIdx="0" presStyleCnt="0"/>
      <dgm:spPr/>
      <dgm:t>
        <a:bodyPr/>
        <a:lstStyle/>
        <a:p>
          <a:endParaRPr lang="ru-RU"/>
        </a:p>
      </dgm:t>
    </dgm:pt>
    <dgm:pt modelId="{E34F3DE5-8A93-4160-810E-3F2410640520}" type="pres">
      <dgm:prSet presAssocID="{8E4348BE-A076-40CC-8434-3FD66A6FB946}" presName="hierChild2" presStyleCnt="0"/>
      <dgm:spPr/>
    </dgm:pt>
    <dgm:pt modelId="{F2843318-0925-49CC-8B7C-71A7D30F1C3B}" type="pres">
      <dgm:prSet presAssocID="{A6E144A0-3206-49A1-A42A-A839F5E71A3D}" presName="Name37" presStyleLbl="parChTrans1D2" presStyleIdx="0" presStyleCnt="3"/>
      <dgm:spPr/>
      <dgm:t>
        <a:bodyPr/>
        <a:lstStyle/>
        <a:p>
          <a:endParaRPr lang="ru-RU"/>
        </a:p>
      </dgm:t>
    </dgm:pt>
    <dgm:pt modelId="{58C84D3B-A241-4CDA-8EE3-7A67C671D30B}" type="pres">
      <dgm:prSet presAssocID="{793ABA90-473B-4792-A1F0-9AC01C347B93}" presName="hierRoot2" presStyleCnt="0">
        <dgm:presLayoutVars>
          <dgm:hierBranch val="init"/>
        </dgm:presLayoutVars>
      </dgm:prSet>
      <dgm:spPr/>
    </dgm:pt>
    <dgm:pt modelId="{2747F3C5-3C03-4788-A9D3-C9DE52A8EE76}" type="pres">
      <dgm:prSet presAssocID="{793ABA90-473B-4792-A1F0-9AC01C347B93}" presName="rootComposite" presStyleCnt="0"/>
      <dgm:spPr/>
    </dgm:pt>
    <dgm:pt modelId="{0032C439-5A47-452F-9316-EFF116F617BC}" type="pres">
      <dgm:prSet presAssocID="{793ABA90-473B-4792-A1F0-9AC01C347B93}" presName="rootText" presStyleLbl="node2" presStyleIdx="0" presStyleCnt="3" custScaleY="16085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92262C60-71E6-4072-B411-A68D88548B36}" type="pres">
      <dgm:prSet presAssocID="{793ABA90-473B-4792-A1F0-9AC01C347B93}" presName="rootConnector" presStyleLbl="node2" presStyleIdx="0" presStyleCnt="3"/>
      <dgm:spPr/>
      <dgm:t>
        <a:bodyPr/>
        <a:lstStyle/>
        <a:p>
          <a:endParaRPr lang="ru-RU"/>
        </a:p>
      </dgm:t>
    </dgm:pt>
    <dgm:pt modelId="{7FB00004-98B2-4F5B-BE50-E92C3E723BE5}" type="pres">
      <dgm:prSet presAssocID="{793ABA90-473B-4792-A1F0-9AC01C347B93}" presName="hierChild4" presStyleCnt="0"/>
      <dgm:spPr/>
    </dgm:pt>
    <dgm:pt modelId="{C0E4FFA5-5ED9-49CD-B8C7-9B0EA692CC3B}" type="pres">
      <dgm:prSet presAssocID="{793ABA90-473B-4792-A1F0-9AC01C347B93}" presName="hierChild5" presStyleCnt="0"/>
      <dgm:spPr/>
    </dgm:pt>
    <dgm:pt modelId="{AE04EFDD-FA2F-4B00-A805-7FE9B00B115A}" type="pres">
      <dgm:prSet presAssocID="{1A91F988-A717-4BA8-AB05-BAF9A4D4A62A}" presName="Name37" presStyleLbl="parChTrans1D2" presStyleIdx="1" presStyleCnt="3"/>
      <dgm:spPr/>
      <dgm:t>
        <a:bodyPr/>
        <a:lstStyle/>
        <a:p>
          <a:endParaRPr lang="ru-RU"/>
        </a:p>
      </dgm:t>
    </dgm:pt>
    <dgm:pt modelId="{67738274-F9B4-4132-BA65-46B711D9F75C}" type="pres">
      <dgm:prSet presAssocID="{05E8E5C6-BD09-4A8A-9AD2-50FFD1BA0084}" presName="hierRoot2" presStyleCnt="0">
        <dgm:presLayoutVars>
          <dgm:hierBranch val="init"/>
        </dgm:presLayoutVars>
      </dgm:prSet>
      <dgm:spPr/>
    </dgm:pt>
    <dgm:pt modelId="{B3B4601C-0E53-4A55-822D-AB07C49DB9AF}" type="pres">
      <dgm:prSet presAssocID="{05E8E5C6-BD09-4A8A-9AD2-50FFD1BA0084}" presName="rootComposite" presStyleCnt="0"/>
      <dgm:spPr/>
    </dgm:pt>
    <dgm:pt modelId="{10065B10-3ED9-4926-A1CC-E35345073210}" type="pres">
      <dgm:prSet presAssocID="{05E8E5C6-BD09-4A8A-9AD2-50FFD1BA0084}" presName="rootText" presStyleLbl="node2" presStyleIdx="1" presStyleCnt="3" custScaleY="161355" custLinFactNeighborX="1255" custLinFactNeighborY="2668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FB28727B-E6AD-4058-9FDA-1E837CF246D5}" type="pres">
      <dgm:prSet presAssocID="{05E8E5C6-BD09-4A8A-9AD2-50FFD1BA0084}" presName="rootConnector" presStyleLbl="node2" presStyleIdx="1" presStyleCnt="3"/>
      <dgm:spPr/>
      <dgm:t>
        <a:bodyPr/>
        <a:lstStyle/>
        <a:p>
          <a:endParaRPr lang="ru-RU"/>
        </a:p>
      </dgm:t>
    </dgm:pt>
    <dgm:pt modelId="{1C4A5188-6BF5-4C15-A91D-E23322E7D5AB}" type="pres">
      <dgm:prSet presAssocID="{05E8E5C6-BD09-4A8A-9AD2-50FFD1BA0084}" presName="hierChild4" presStyleCnt="0"/>
      <dgm:spPr/>
    </dgm:pt>
    <dgm:pt modelId="{A8673252-AB5B-4EF8-894B-BF67C37C629E}" type="pres">
      <dgm:prSet presAssocID="{05E8E5C6-BD09-4A8A-9AD2-50FFD1BA0084}" presName="hierChild5" presStyleCnt="0"/>
      <dgm:spPr/>
    </dgm:pt>
    <dgm:pt modelId="{B256BA07-93F9-4CDA-B505-D3F0F43D4595}" type="pres">
      <dgm:prSet presAssocID="{6C08F01F-158E-44FE-91C8-272E7B46D496}" presName="Name37" presStyleLbl="parChTrans1D2" presStyleIdx="2" presStyleCnt="3"/>
      <dgm:spPr/>
      <dgm:t>
        <a:bodyPr/>
        <a:lstStyle/>
        <a:p>
          <a:endParaRPr lang="ru-RU"/>
        </a:p>
      </dgm:t>
    </dgm:pt>
    <dgm:pt modelId="{0C076AE2-96B7-4348-A1D8-346CE417ABE3}" type="pres">
      <dgm:prSet presAssocID="{ED1CE765-554E-4B25-BE60-ED536B352E19}" presName="hierRoot2" presStyleCnt="0">
        <dgm:presLayoutVars>
          <dgm:hierBranch val="init"/>
        </dgm:presLayoutVars>
      </dgm:prSet>
      <dgm:spPr/>
    </dgm:pt>
    <dgm:pt modelId="{C72A034D-8BB3-4937-9E61-60750E9225A0}" type="pres">
      <dgm:prSet presAssocID="{ED1CE765-554E-4B25-BE60-ED536B352E19}" presName="rootComposite" presStyleCnt="0"/>
      <dgm:spPr/>
    </dgm:pt>
    <dgm:pt modelId="{0BC1DC89-D6ED-4BA2-B905-7EEAC9098813}" type="pres">
      <dgm:prSet presAssocID="{ED1CE765-554E-4B25-BE60-ED536B352E19}" presName="rootText" presStyleLbl="node2" presStyleIdx="2" presStyleCnt="3" custScaleY="17509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6AA3CB48-2CB8-4941-8971-11539BBFE392}" type="pres">
      <dgm:prSet presAssocID="{ED1CE765-554E-4B25-BE60-ED536B352E19}" presName="rootConnector" presStyleLbl="node2" presStyleIdx="2" presStyleCnt="3"/>
      <dgm:spPr/>
      <dgm:t>
        <a:bodyPr/>
        <a:lstStyle/>
        <a:p>
          <a:endParaRPr lang="ru-RU"/>
        </a:p>
      </dgm:t>
    </dgm:pt>
    <dgm:pt modelId="{D7565FDB-31AD-4B9E-909A-254F289F8973}" type="pres">
      <dgm:prSet presAssocID="{ED1CE765-554E-4B25-BE60-ED536B352E19}" presName="hierChild4" presStyleCnt="0"/>
      <dgm:spPr/>
    </dgm:pt>
    <dgm:pt modelId="{69FB8CD2-CEBF-4DD1-9B6A-D756B9B72E28}" type="pres">
      <dgm:prSet presAssocID="{ED1CE765-554E-4B25-BE60-ED536B352E19}" presName="hierChild5" presStyleCnt="0"/>
      <dgm:spPr/>
    </dgm:pt>
    <dgm:pt modelId="{96DF71F3-84A0-4FBC-A088-9E72BB4DDEF5}" type="pres">
      <dgm:prSet presAssocID="{8E4348BE-A076-40CC-8434-3FD66A6FB946}" presName="hierChild3" presStyleCnt="0"/>
      <dgm:spPr/>
    </dgm:pt>
  </dgm:ptLst>
  <dgm:cxnLst>
    <dgm:cxn modelId="{3809263D-A9E9-4DDB-9A46-AD12304BA596}" srcId="{8E4348BE-A076-40CC-8434-3FD66A6FB946}" destId="{793ABA90-473B-4792-A1F0-9AC01C347B93}" srcOrd="0" destOrd="0" parTransId="{A6E144A0-3206-49A1-A42A-A839F5E71A3D}" sibTransId="{189F0465-002D-4F5B-90BD-9F2DEA21F2B5}"/>
    <dgm:cxn modelId="{BC2F51F1-1FCF-4B67-9685-8C8DA38F65E8}" type="presOf" srcId="{5738CE7F-9246-493F-81FC-4CFA130F10DD}" destId="{7CAE810B-D76D-48D3-8864-66E05DD14BD0}" srcOrd="0" destOrd="0" presId="urn:microsoft.com/office/officeart/2005/8/layout/orgChart1"/>
    <dgm:cxn modelId="{31387B0A-30F4-4479-A166-8769EB7EA6AF}" type="presOf" srcId="{ED1CE765-554E-4B25-BE60-ED536B352E19}" destId="{0BC1DC89-D6ED-4BA2-B905-7EEAC9098813}" srcOrd="0" destOrd="0" presId="urn:microsoft.com/office/officeart/2005/8/layout/orgChart1"/>
    <dgm:cxn modelId="{C09BE007-18B3-4FF3-9FBF-060BF0322DE2}" type="presOf" srcId="{1A91F988-A717-4BA8-AB05-BAF9A4D4A62A}" destId="{AE04EFDD-FA2F-4B00-A805-7FE9B00B115A}" srcOrd="0" destOrd="0" presId="urn:microsoft.com/office/officeart/2005/8/layout/orgChart1"/>
    <dgm:cxn modelId="{10A5FF31-C6A8-49A1-899F-E0B7659E0B3B}" type="presOf" srcId="{8E4348BE-A076-40CC-8434-3FD66A6FB946}" destId="{AFEFBE3F-2944-49BF-BC06-B786B040159D}" srcOrd="0" destOrd="0" presId="urn:microsoft.com/office/officeart/2005/8/layout/orgChart1"/>
    <dgm:cxn modelId="{218420F3-51AD-4A63-A334-B5B154E2962C}" type="presOf" srcId="{793ABA90-473B-4792-A1F0-9AC01C347B93}" destId="{0032C439-5A47-452F-9316-EFF116F617BC}" srcOrd="0" destOrd="0" presId="urn:microsoft.com/office/officeart/2005/8/layout/orgChart1"/>
    <dgm:cxn modelId="{E4892896-33D6-4681-BA46-0F453CEC25C6}" type="presOf" srcId="{A6E144A0-3206-49A1-A42A-A839F5E71A3D}" destId="{F2843318-0925-49CC-8B7C-71A7D30F1C3B}" srcOrd="0" destOrd="0" presId="urn:microsoft.com/office/officeart/2005/8/layout/orgChart1"/>
    <dgm:cxn modelId="{3A66189D-66D7-4E80-B248-9EE5CED8FDDF}" type="presOf" srcId="{8E4348BE-A076-40CC-8434-3FD66A6FB946}" destId="{F01B5906-C573-4454-8482-9F66AA00CBE4}" srcOrd="1" destOrd="0" presId="urn:microsoft.com/office/officeart/2005/8/layout/orgChart1"/>
    <dgm:cxn modelId="{EA1E2E57-C812-46B6-B1BC-8A4386D121F2}" type="presOf" srcId="{6C08F01F-158E-44FE-91C8-272E7B46D496}" destId="{B256BA07-93F9-4CDA-B505-D3F0F43D4595}" srcOrd="0" destOrd="0" presId="urn:microsoft.com/office/officeart/2005/8/layout/orgChart1"/>
    <dgm:cxn modelId="{C63A9C40-1273-4140-803D-36EFB7793738}" srcId="{5738CE7F-9246-493F-81FC-4CFA130F10DD}" destId="{8E4348BE-A076-40CC-8434-3FD66A6FB946}" srcOrd="0" destOrd="0" parTransId="{3293ECF0-6312-4E5C-A1D2-D3AE8E7D0B85}" sibTransId="{E70E869C-9014-451A-BF66-B9D731CC738A}"/>
    <dgm:cxn modelId="{8FEED035-C4D9-40CC-AEC9-1BBCC2AEF7DA}" type="presOf" srcId="{793ABA90-473B-4792-A1F0-9AC01C347B93}" destId="{92262C60-71E6-4072-B411-A68D88548B36}" srcOrd="1" destOrd="0" presId="urn:microsoft.com/office/officeart/2005/8/layout/orgChart1"/>
    <dgm:cxn modelId="{0AA33D33-D0C4-49FB-8973-D77C46FCB731}" type="presOf" srcId="{05E8E5C6-BD09-4A8A-9AD2-50FFD1BA0084}" destId="{FB28727B-E6AD-4058-9FDA-1E837CF246D5}" srcOrd="1" destOrd="0" presId="urn:microsoft.com/office/officeart/2005/8/layout/orgChart1"/>
    <dgm:cxn modelId="{DBD518A3-0C83-4821-B14D-3AC306FF4003}" type="presOf" srcId="{ED1CE765-554E-4B25-BE60-ED536B352E19}" destId="{6AA3CB48-2CB8-4941-8971-11539BBFE392}" srcOrd="1" destOrd="0" presId="urn:microsoft.com/office/officeart/2005/8/layout/orgChart1"/>
    <dgm:cxn modelId="{7F9DB156-DB92-463D-8F2D-F5A2678E64F9}" srcId="{8E4348BE-A076-40CC-8434-3FD66A6FB946}" destId="{05E8E5C6-BD09-4A8A-9AD2-50FFD1BA0084}" srcOrd="1" destOrd="0" parTransId="{1A91F988-A717-4BA8-AB05-BAF9A4D4A62A}" sibTransId="{2B3C93DB-ABCD-4D6B-B80B-26F578F44D07}"/>
    <dgm:cxn modelId="{705988A2-BA20-4070-8227-2955084A732A}" type="presOf" srcId="{05E8E5C6-BD09-4A8A-9AD2-50FFD1BA0084}" destId="{10065B10-3ED9-4926-A1CC-E35345073210}" srcOrd="0" destOrd="0" presId="urn:microsoft.com/office/officeart/2005/8/layout/orgChart1"/>
    <dgm:cxn modelId="{DD565AA2-2E0E-4985-AAEF-934913ED9CD5}" srcId="{8E4348BE-A076-40CC-8434-3FD66A6FB946}" destId="{ED1CE765-554E-4B25-BE60-ED536B352E19}" srcOrd="2" destOrd="0" parTransId="{6C08F01F-158E-44FE-91C8-272E7B46D496}" sibTransId="{98D082D3-49D3-4D59-A27F-56786889C0FF}"/>
    <dgm:cxn modelId="{957B5203-56F1-433E-976E-8C69E5C28C04}" type="presParOf" srcId="{7CAE810B-D76D-48D3-8864-66E05DD14BD0}" destId="{4136ED91-281C-4E13-8F13-C4B83BF1BB1D}" srcOrd="0" destOrd="0" presId="urn:microsoft.com/office/officeart/2005/8/layout/orgChart1"/>
    <dgm:cxn modelId="{3877106A-1852-403A-9E31-217A4E68EF5B}" type="presParOf" srcId="{4136ED91-281C-4E13-8F13-C4B83BF1BB1D}" destId="{266C0D91-B501-472C-BD10-4C2AF5587112}" srcOrd="0" destOrd="0" presId="urn:microsoft.com/office/officeart/2005/8/layout/orgChart1"/>
    <dgm:cxn modelId="{118C513A-00BE-4280-B732-A16721050AE9}" type="presParOf" srcId="{266C0D91-B501-472C-BD10-4C2AF5587112}" destId="{AFEFBE3F-2944-49BF-BC06-B786B040159D}" srcOrd="0" destOrd="0" presId="urn:microsoft.com/office/officeart/2005/8/layout/orgChart1"/>
    <dgm:cxn modelId="{DB89F6BC-87B3-4787-BD47-F3CAAA547B73}" type="presParOf" srcId="{266C0D91-B501-472C-BD10-4C2AF5587112}" destId="{F01B5906-C573-4454-8482-9F66AA00CBE4}" srcOrd="1" destOrd="0" presId="urn:microsoft.com/office/officeart/2005/8/layout/orgChart1"/>
    <dgm:cxn modelId="{7EC23601-F289-46D7-AEB9-AAE4D29797E8}" type="presParOf" srcId="{4136ED91-281C-4E13-8F13-C4B83BF1BB1D}" destId="{E34F3DE5-8A93-4160-810E-3F2410640520}" srcOrd="1" destOrd="0" presId="urn:microsoft.com/office/officeart/2005/8/layout/orgChart1"/>
    <dgm:cxn modelId="{9827FFA3-B244-4931-BF74-16AFEB21FA78}" type="presParOf" srcId="{E34F3DE5-8A93-4160-810E-3F2410640520}" destId="{F2843318-0925-49CC-8B7C-71A7D30F1C3B}" srcOrd="0" destOrd="0" presId="urn:microsoft.com/office/officeart/2005/8/layout/orgChart1"/>
    <dgm:cxn modelId="{B0D53D47-CECF-40B8-BCC6-C2D2DF1051C9}" type="presParOf" srcId="{E34F3DE5-8A93-4160-810E-3F2410640520}" destId="{58C84D3B-A241-4CDA-8EE3-7A67C671D30B}" srcOrd="1" destOrd="0" presId="urn:microsoft.com/office/officeart/2005/8/layout/orgChart1"/>
    <dgm:cxn modelId="{CAD07638-AED5-4089-834E-6AFC77377E8E}" type="presParOf" srcId="{58C84D3B-A241-4CDA-8EE3-7A67C671D30B}" destId="{2747F3C5-3C03-4788-A9D3-C9DE52A8EE76}" srcOrd="0" destOrd="0" presId="urn:microsoft.com/office/officeart/2005/8/layout/orgChart1"/>
    <dgm:cxn modelId="{D63FE0C0-836E-4FD5-919E-F9404C54E0A2}" type="presParOf" srcId="{2747F3C5-3C03-4788-A9D3-C9DE52A8EE76}" destId="{0032C439-5A47-452F-9316-EFF116F617BC}" srcOrd="0" destOrd="0" presId="urn:microsoft.com/office/officeart/2005/8/layout/orgChart1"/>
    <dgm:cxn modelId="{69ACBD4D-960B-45A5-BBA5-A89A04D7C557}" type="presParOf" srcId="{2747F3C5-3C03-4788-A9D3-C9DE52A8EE76}" destId="{92262C60-71E6-4072-B411-A68D88548B36}" srcOrd="1" destOrd="0" presId="urn:microsoft.com/office/officeart/2005/8/layout/orgChart1"/>
    <dgm:cxn modelId="{A8EF9245-D1AB-410F-B20E-3265CF425D03}" type="presParOf" srcId="{58C84D3B-A241-4CDA-8EE3-7A67C671D30B}" destId="{7FB00004-98B2-4F5B-BE50-E92C3E723BE5}" srcOrd="1" destOrd="0" presId="urn:microsoft.com/office/officeart/2005/8/layout/orgChart1"/>
    <dgm:cxn modelId="{0C4A6C38-7E3F-4B76-8150-C34542E1FCFB}" type="presParOf" srcId="{58C84D3B-A241-4CDA-8EE3-7A67C671D30B}" destId="{C0E4FFA5-5ED9-49CD-B8C7-9B0EA692CC3B}" srcOrd="2" destOrd="0" presId="urn:microsoft.com/office/officeart/2005/8/layout/orgChart1"/>
    <dgm:cxn modelId="{A1482EA7-6989-4EBC-AD44-1F2FF731A1D5}" type="presParOf" srcId="{E34F3DE5-8A93-4160-810E-3F2410640520}" destId="{AE04EFDD-FA2F-4B00-A805-7FE9B00B115A}" srcOrd="2" destOrd="0" presId="urn:microsoft.com/office/officeart/2005/8/layout/orgChart1"/>
    <dgm:cxn modelId="{F7158B25-4C15-413F-9FC6-7F17E3C3DE36}" type="presParOf" srcId="{E34F3DE5-8A93-4160-810E-3F2410640520}" destId="{67738274-F9B4-4132-BA65-46B711D9F75C}" srcOrd="3" destOrd="0" presId="urn:microsoft.com/office/officeart/2005/8/layout/orgChart1"/>
    <dgm:cxn modelId="{22751C0E-F91C-451E-9ACC-792DE9F800E6}" type="presParOf" srcId="{67738274-F9B4-4132-BA65-46B711D9F75C}" destId="{B3B4601C-0E53-4A55-822D-AB07C49DB9AF}" srcOrd="0" destOrd="0" presId="urn:microsoft.com/office/officeart/2005/8/layout/orgChart1"/>
    <dgm:cxn modelId="{A6FA898C-223E-40D2-90C1-5C0342E84F7B}" type="presParOf" srcId="{B3B4601C-0E53-4A55-822D-AB07C49DB9AF}" destId="{10065B10-3ED9-4926-A1CC-E35345073210}" srcOrd="0" destOrd="0" presId="urn:microsoft.com/office/officeart/2005/8/layout/orgChart1"/>
    <dgm:cxn modelId="{0718C175-FC00-4369-93C6-BD6668958F30}" type="presParOf" srcId="{B3B4601C-0E53-4A55-822D-AB07C49DB9AF}" destId="{FB28727B-E6AD-4058-9FDA-1E837CF246D5}" srcOrd="1" destOrd="0" presId="urn:microsoft.com/office/officeart/2005/8/layout/orgChart1"/>
    <dgm:cxn modelId="{0427E390-1B2B-48B4-9E84-6B79A648EA03}" type="presParOf" srcId="{67738274-F9B4-4132-BA65-46B711D9F75C}" destId="{1C4A5188-6BF5-4C15-A91D-E23322E7D5AB}" srcOrd="1" destOrd="0" presId="urn:microsoft.com/office/officeart/2005/8/layout/orgChart1"/>
    <dgm:cxn modelId="{5B030093-3477-47EB-A4BE-95FA2745E5C1}" type="presParOf" srcId="{67738274-F9B4-4132-BA65-46B711D9F75C}" destId="{A8673252-AB5B-4EF8-894B-BF67C37C629E}" srcOrd="2" destOrd="0" presId="urn:microsoft.com/office/officeart/2005/8/layout/orgChart1"/>
    <dgm:cxn modelId="{A254A869-2200-44BA-A25A-8C17EE4A16D6}" type="presParOf" srcId="{E34F3DE5-8A93-4160-810E-3F2410640520}" destId="{B256BA07-93F9-4CDA-B505-D3F0F43D4595}" srcOrd="4" destOrd="0" presId="urn:microsoft.com/office/officeart/2005/8/layout/orgChart1"/>
    <dgm:cxn modelId="{1F2615BE-5C69-422D-A395-24D792A2C985}" type="presParOf" srcId="{E34F3DE5-8A93-4160-810E-3F2410640520}" destId="{0C076AE2-96B7-4348-A1D8-346CE417ABE3}" srcOrd="5" destOrd="0" presId="urn:microsoft.com/office/officeart/2005/8/layout/orgChart1"/>
    <dgm:cxn modelId="{C105A67F-F8C3-40FF-B4FA-3161CB8BD5B8}" type="presParOf" srcId="{0C076AE2-96B7-4348-A1D8-346CE417ABE3}" destId="{C72A034D-8BB3-4937-9E61-60750E9225A0}" srcOrd="0" destOrd="0" presId="urn:microsoft.com/office/officeart/2005/8/layout/orgChart1"/>
    <dgm:cxn modelId="{09AF146F-3E43-4747-A855-5FA4507185D0}" type="presParOf" srcId="{C72A034D-8BB3-4937-9E61-60750E9225A0}" destId="{0BC1DC89-D6ED-4BA2-B905-7EEAC9098813}" srcOrd="0" destOrd="0" presId="urn:microsoft.com/office/officeart/2005/8/layout/orgChart1"/>
    <dgm:cxn modelId="{BD551CB8-28B8-40F0-803F-C661F1FBC380}" type="presParOf" srcId="{C72A034D-8BB3-4937-9E61-60750E9225A0}" destId="{6AA3CB48-2CB8-4941-8971-11539BBFE392}" srcOrd="1" destOrd="0" presId="urn:microsoft.com/office/officeart/2005/8/layout/orgChart1"/>
    <dgm:cxn modelId="{6E725D08-5698-4F9D-AF52-67DA1A901CEC}" type="presParOf" srcId="{0C076AE2-96B7-4348-A1D8-346CE417ABE3}" destId="{D7565FDB-31AD-4B9E-909A-254F289F8973}" srcOrd="1" destOrd="0" presId="urn:microsoft.com/office/officeart/2005/8/layout/orgChart1"/>
    <dgm:cxn modelId="{7F8FCDD7-6835-4507-9A2A-17ED36F3CE1C}" type="presParOf" srcId="{0C076AE2-96B7-4348-A1D8-346CE417ABE3}" destId="{69FB8CD2-CEBF-4DD1-9B6A-D756B9B72E28}" srcOrd="2" destOrd="0" presId="urn:microsoft.com/office/officeart/2005/8/layout/orgChart1"/>
    <dgm:cxn modelId="{157B3242-D657-4065-9E6F-3DA961E238ED}" type="presParOf" srcId="{4136ED91-281C-4E13-8F13-C4B83BF1BB1D}" destId="{96DF71F3-84A0-4FBC-A088-9E72BB4DDEF5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56BA07-93F9-4CDA-B505-D3F0F43D4595}">
      <dsp:nvSpPr>
        <dsp:cNvPr id="0" name=""/>
        <dsp:cNvSpPr/>
      </dsp:nvSpPr>
      <dsp:spPr>
        <a:xfrm>
          <a:off x="2726623" y="1147820"/>
          <a:ext cx="1686284" cy="27713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6296"/>
              </a:lnTo>
              <a:lnTo>
                <a:pt x="1686284" y="126296"/>
              </a:lnTo>
              <a:lnTo>
                <a:pt x="1686284" y="277137"/>
              </a:lnTo>
            </a:path>
          </a:pathLst>
        </a:custGeom>
        <a:noFill/>
        <a:ln w="9525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E04EFDD-FA2F-4B00-A805-7FE9B00B115A}">
      <dsp:nvSpPr>
        <dsp:cNvPr id="0" name=""/>
        <dsp:cNvSpPr/>
      </dsp:nvSpPr>
      <dsp:spPr>
        <a:xfrm>
          <a:off x="2646957" y="1147820"/>
          <a:ext cx="91440" cy="296301"/>
        </a:xfrm>
        <a:custGeom>
          <a:avLst/>
          <a:gdLst/>
          <a:ahLst/>
          <a:cxnLst/>
          <a:rect l="0" t="0" r="0" b="0"/>
          <a:pathLst>
            <a:path>
              <a:moveTo>
                <a:pt x="79666" y="0"/>
              </a:moveTo>
              <a:lnTo>
                <a:pt x="79666" y="145460"/>
              </a:lnTo>
              <a:lnTo>
                <a:pt x="45720" y="145460"/>
              </a:lnTo>
              <a:lnTo>
                <a:pt x="45720" y="296301"/>
              </a:lnTo>
            </a:path>
          </a:pathLst>
        </a:custGeom>
        <a:noFill/>
        <a:ln w="9525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2843318-0925-49CC-8B7C-71A7D30F1C3B}">
      <dsp:nvSpPr>
        <dsp:cNvPr id="0" name=""/>
        <dsp:cNvSpPr/>
      </dsp:nvSpPr>
      <dsp:spPr>
        <a:xfrm>
          <a:off x="936388" y="1147820"/>
          <a:ext cx="1790235" cy="277137"/>
        </a:xfrm>
        <a:custGeom>
          <a:avLst/>
          <a:gdLst/>
          <a:ahLst/>
          <a:cxnLst/>
          <a:rect l="0" t="0" r="0" b="0"/>
          <a:pathLst>
            <a:path>
              <a:moveTo>
                <a:pt x="1790235" y="0"/>
              </a:moveTo>
              <a:lnTo>
                <a:pt x="1790235" y="126296"/>
              </a:lnTo>
              <a:lnTo>
                <a:pt x="0" y="126296"/>
              </a:lnTo>
              <a:lnTo>
                <a:pt x="0" y="277137"/>
              </a:lnTo>
            </a:path>
          </a:pathLst>
        </a:custGeom>
        <a:noFill/>
        <a:ln w="12700" cap="flat" cmpd="sng" algn="ctr">
          <a:solidFill>
            <a:schemeClr val="bg1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EFBE3F-2944-49BF-BC06-B786B040159D}">
      <dsp:nvSpPr>
        <dsp:cNvPr id="0" name=""/>
        <dsp:cNvSpPr/>
      </dsp:nvSpPr>
      <dsp:spPr>
        <a:xfrm>
          <a:off x="1603729" y="24926"/>
          <a:ext cx="2245789" cy="1122894"/>
        </a:xfrm>
        <a:prstGeom prst="rect">
          <a:avLst/>
        </a:prstGeom>
        <a:gradFill rotWithShape="1">
          <a:gsLst>
            <a:gs pos="0">
              <a:schemeClr val="accent5">
                <a:shade val="51000"/>
                <a:satMod val="130000"/>
              </a:schemeClr>
            </a:gs>
            <a:gs pos="80000">
              <a:schemeClr val="accent5">
                <a:shade val="93000"/>
                <a:satMod val="130000"/>
              </a:schemeClr>
            </a:gs>
            <a:gs pos="100000">
              <a:schemeClr val="accent5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5"/>
        </a:lnRef>
        <a:fillRef idx="3">
          <a:schemeClr val="accent5"/>
        </a:fillRef>
        <a:effectRef idx="2">
          <a:schemeClr val="accent5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rgbClr val="002060"/>
              </a:solidFill>
            </a:rPr>
            <a:t>Комитет</a:t>
          </a:r>
          <a:r>
            <a:rPr lang="ru-RU" sz="1200" kern="1200" dirty="0" smtClean="0">
              <a:solidFill>
                <a:schemeClr val="accent5"/>
              </a:solidFill>
            </a:rPr>
            <a:t> </a:t>
          </a:r>
          <a:endParaRPr lang="ru-RU" sz="1200" kern="1200" dirty="0">
            <a:solidFill>
              <a:schemeClr val="accent5"/>
            </a:solidFill>
          </a:endParaRPr>
        </a:p>
      </dsp:txBody>
      <dsp:txXfrm>
        <a:off x="1603729" y="24926"/>
        <a:ext cx="2245789" cy="1122894"/>
      </dsp:txXfrm>
    </dsp:sp>
    <dsp:sp modelId="{0032C439-5A47-452F-9316-EFF116F617BC}">
      <dsp:nvSpPr>
        <dsp:cNvPr id="0" name=""/>
        <dsp:cNvSpPr/>
      </dsp:nvSpPr>
      <dsp:spPr>
        <a:xfrm>
          <a:off x="218098" y="1424958"/>
          <a:ext cx="1436578" cy="1155382"/>
        </a:xfrm>
        <a:prstGeom prst="rect">
          <a:avLst/>
        </a:prstGeom>
        <a:gradFill rotWithShape="1">
          <a:gsLst>
            <a:gs pos="0">
              <a:schemeClr val="accent4">
                <a:tint val="50000"/>
                <a:satMod val="300000"/>
              </a:schemeClr>
            </a:gs>
            <a:gs pos="35000">
              <a:schemeClr val="accent4">
                <a:tint val="37000"/>
                <a:satMod val="300000"/>
              </a:schemeClr>
            </a:gs>
            <a:gs pos="100000">
              <a:schemeClr val="accent4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4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rgbClr val="002060"/>
              </a:solidFill>
            </a:rPr>
            <a:t>Процедурный контроль</a:t>
          </a:r>
          <a:endParaRPr lang="ru-RU" sz="1400" b="1" kern="1200" dirty="0">
            <a:solidFill>
              <a:srgbClr val="002060"/>
            </a:solidFill>
          </a:endParaRPr>
        </a:p>
      </dsp:txBody>
      <dsp:txXfrm>
        <a:off x="218098" y="1424958"/>
        <a:ext cx="1436578" cy="1155382"/>
      </dsp:txXfrm>
    </dsp:sp>
    <dsp:sp modelId="{10065B10-3ED9-4926-A1CC-E35345073210}">
      <dsp:nvSpPr>
        <dsp:cNvPr id="0" name=""/>
        <dsp:cNvSpPr/>
      </dsp:nvSpPr>
      <dsp:spPr>
        <a:xfrm>
          <a:off x="1974388" y="1444122"/>
          <a:ext cx="1436578" cy="1158995"/>
        </a:xfrm>
        <a:prstGeom prst="rect">
          <a:avLst/>
        </a:prstGeom>
        <a:gradFill rotWithShape="1">
          <a:gsLst>
            <a:gs pos="0">
              <a:schemeClr val="accent4">
                <a:tint val="50000"/>
                <a:satMod val="300000"/>
              </a:schemeClr>
            </a:gs>
            <a:gs pos="35000">
              <a:schemeClr val="accent4">
                <a:tint val="37000"/>
                <a:satMod val="300000"/>
              </a:schemeClr>
            </a:gs>
            <a:gs pos="100000">
              <a:schemeClr val="accent4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4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rgbClr val="002060"/>
              </a:solidFill>
            </a:rPr>
            <a:t>Внутренний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rgbClr val="002060"/>
              </a:solidFill>
            </a:rPr>
            <a:t>финансовый контроль</a:t>
          </a:r>
          <a:endParaRPr lang="ru-RU" sz="1400" b="1" kern="1200" dirty="0">
            <a:solidFill>
              <a:srgbClr val="002060"/>
            </a:solidFill>
          </a:endParaRPr>
        </a:p>
      </dsp:txBody>
      <dsp:txXfrm>
        <a:off x="1974388" y="1444122"/>
        <a:ext cx="1436578" cy="1158995"/>
      </dsp:txXfrm>
    </dsp:sp>
    <dsp:sp modelId="{0BC1DC89-D6ED-4BA2-B905-7EEAC9098813}">
      <dsp:nvSpPr>
        <dsp:cNvPr id="0" name=""/>
        <dsp:cNvSpPr/>
      </dsp:nvSpPr>
      <dsp:spPr>
        <a:xfrm>
          <a:off x="3694619" y="1424958"/>
          <a:ext cx="1436578" cy="1257681"/>
        </a:xfrm>
        <a:prstGeom prst="rect">
          <a:avLst/>
        </a:prstGeom>
        <a:gradFill rotWithShape="1">
          <a:gsLst>
            <a:gs pos="0">
              <a:schemeClr val="accent5">
                <a:tint val="50000"/>
                <a:satMod val="300000"/>
              </a:schemeClr>
            </a:gs>
            <a:gs pos="35000">
              <a:schemeClr val="accent5">
                <a:tint val="37000"/>
                <a:satMod val="300000"/>
              </a:schemeClr>
            </a:gs>
            <a:gs pos="100000">
              <a:schemeClr val="accent5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5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5"/>
        </a:lnRef>
        <a:fillRef idx="2">
          <a:schemeClr val="accent5"/>
        </a:fillRef>
        <a:effectRef idx="1">
          <a:schemeClr val="accent5"/>
        </a:effectRef>
        <a:fontRef idx="minor">
          <a:schemeClr val="dk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rgbClr val="002060"/>
              </a:solidFill>
            </a:rPr>
            <a:t>Контроль за исполнением поручений губернатора и иные полномочия </a:t>
          </a:r>
          <a:endParaRPr lang="ru-RU" sz="1400" b="1" kern="1200" dirty="0">
            <a:solidFill>
              <a:srgbClr val="002060"/>
            </a:solidFill>
          </a:endParaRPr>
        </a:p>
      </dsp:txBody>
      <dsp:txXfrm>
        <a:off x="3694619" y="1424958"/>
        <a:ext cx="1436578" cy="125768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2972" cy="340756"/>
          </a:xfrm>
          <a:prstGeom prst="rect">
            <a:avLst/>
          </a:prstGeom>
        </p:spPr>
        <p:txBody>
          <a:bodyPr vert="horz" lIns="91303" tIns="45651" rIns="91303" bIns="4565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5257" y="0"/>
            <a:ext cx="4304558" cy="340756"/>
          </a:xfrm>
          <a:prstGeom prst="rect">
            <a:avLst/>
          </a:prstGeom>
        </p:spPr>
        <p:txBody>
          <a:bodyPr vert="horz" lIns="91303" tIns="45651" rIns="91303" bIns="45651" rtlCol="0"/>
          <a:lstStyle>
            <a:lvl1pPr algn="r">
              <a:defRPr sz="1200"/>
            </a:lvl1pPr>
          </a:lstStyle>
          <a:p>
            <a:fld id="{5CC611D4-7E9D-41AE-A32E-191A006D988A}" type="datetimeFigureOut">
              <a:rPr lang="ru-RU" smtClean="0"/>
              <a:t>26.04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927350" y="849313"/>
            <a:ext cx="4076700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03" tIns="45651" rIns="91303" bIns="45651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506" y="3269665"/>
            <a:ext cx="7946388" cy="2675324"/>
          </a:xfrm>
          <a:prstGeom prst="rect">
            <a:avLst/>
          </a:prstGeom>
        </p:spPr>
        <p:txBody>
          <a:bodyPr vert="horz" lIns="91303" tIns="45651" rIns="91303" bIns="45651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6453745"/>
            <a:ext cx="4302972" cy="340756"/>
          </a:xfrm>
          <a:prstGeom prst="rect">
            <a:avLst/>
          </a:prstGeom>
        </p:spPr>
        <p:txBody>
          <a:bodyPr vert="horz" lIns="91303" tIns="45651" rIns="91303" bIns="4565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5257" y="6453745"/>
            <a:ext cx="4304558" cy="340756"/>
          </a:xfrm>
          <a:prstGeom prst="rect">
            <a:avLst/>
          </a:prstGeom>
        </p:spPr>
        <p:txBody>
          <a:bodyPr vert="horz" lIns="91303" tIns="45651" rIns="91303" bIns="45651" rtlCol="0" anchor="b"/>
          <a:lstStyle>
            <a:lvl1pPr algn="r">
              <a:defRPr sz="1200"/>
            </a:lvl1pPr>
          </a:lstStyle>
          <a:p>
            <a:fld id="{6A3E82E6-6153-4B70-A47D-D0BE5030AE4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46218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E82E6-6153-4B70-A47D-D0BE5030AE42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00626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E82E6-6153-4B70-A47D-D0BE5030AE42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67546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E82E6-6153-4B70-A47D-D0BE5030AE42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97028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E82E6-6153-4B70-A47D-D0BE5030AE42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97028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E82E6-6153-4B70-A47D-D0BE5030AE42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97028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E82E6-6153-4B70-A47D-D0BE5030AE42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97028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E82E6-6153-4B70-A47D-D0BE5030AE42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97028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E82E6-6153-4B70-A47D-D0BE5030AE42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97028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3E82E6-6153-4B70-A47D-D0BE5030AE42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19261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4" Type="http://schemas.openxmlformats.org/officeDocument/2006/relationships/tags" Target="../tags/tag26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4" Type="http://schemas.openxmlformats.org/officeDocument/2006/relationships/tags" Target="../tags/tag33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02400"/>
            <a:ext cx="12192000" cy="2556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600" b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7" name="Text Placeholder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902677" y="1996700"/>
            <a:ext cx="10505831" cy="1762021"/>
          </a:xfrm>
        </p:spPr>
        <p:txBody>
          <a:bodyPr>
            <a:spAutoFit/>
          </a:bodyPr>
          <a:lstStyle>
            <a:lvl1pPr>
              <a:defRPr/>
            </a:lvl1pPr>
            <a:lvl2pPr>
              <a:defRPr/>
            </a:lvl2pPr>
            <a:lvl3pPr>
              <a:spcBef>
                <a:spcPts val="492"/>
              </a:spcBef>
              <a:defRPr/>
            </a:lvl3pPr>
            <a:lvl4pPr>
              <a:defRPr/>
            </a:lvl4pPr>
          </a:lstStyle>
          <a:p>
            <a:pPr lvl="0"/>
            <a:r>
              <a:rPr lang="en-US" dirty="0" smtClean="0"/>
              <a:t>Click to edit Master text styles – Level 0</a:t>
            </a:r>
          </a:p>
          <a:p>
            <a:pPr lvl="1"/>
            <a:r>
              <a:rPr lang="en-US" dirty="0" smtClean="0"/>
              <a:t>Level 1</a:t>
            </a:r>
          </a:p>
          <a:p>
            <a:pPr lvl="2"/>
            <a:r>
              <a:rPr lang="en-US" dirty="0" smtClean="0"/>
              <a:t>Level 2</a:t>
            </a:r>
          </a:p>
          <a:p>
            <a:pPr lvl="3"/>
            <a:r>
              <a:rPr lang="en-US" dirty="0" smtClean="0"/>
              <a:t>Level 3</a:t>
            </a:r>
          </a:p>
        </p:txBody>
      </p:sp>
      <p:sp>
        <p:nvSpPr>
          <p:cNvPr id="43" name="Title 4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19" name="Группа 18"/>
          <p:cNvGrpSpPr/>
          <p:nvPr userDrawn="1"/>
        </p:nvGrpSpPr>
        <p:grpSpPr>
          <a:xfrm>
            <a:off x="6780853" y="-17200"/>
            <a:ext cx="5445624" cy="1854824"/>
            <a:chOff x="6780853" y="-17200"/>
            <a:chExt cx="5445624" cy="1854824"/>
          </a:xfrm>
        </p:grpSpPr>
        <p:sp>
          <p:nvSpPr>
            <p:cNvPr id="20" name="Freeform 6"/>
            <p:cNvSpPr>
              <a:spLocks/>
            </p:cNvSpPr>
            <p:nvPr/>
          </p:nvSpPr>
          <p:spPr bwMode="auto">
            <a:xfrm flipH="1">
              <a:off x="6780853" y="-1025"/>
              <a:ext cx="5416948" cy="1838649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rgbClr val="B128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 dirty="0"/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 flipH="1">
              <a:off x="8597477" y="-7720"/>
              <a:ext cx="3609418" cy="1330324"/>
            </a:xfrm>
            <a:custGeom>
              <a:avLst/>
              <a:gdLst>
                <a:gd name="T0" fmla="*/ 0 w 4406"/>
                <a:gd name="T1" fmla="*/ 0 h 1436"/>
                <a:gd name="T2" fmla="*/ 0 w 4406"/>
                <a:gd name="T3" fmla="*/ 1436 h 1436"/>
                <a:gd name="T4" fmla="*/ 4110 w 4406"/>
                <a:gd name="T5" fmla="*/ 405 h 1436"/>
                <a:gd name="T6" fmla="*/ 4406 w 4406"/>
                <a:gd name="T7" fmla="*/ 0 h 1436"/>
                <a:gd name="T8" fmla="*/ 0 w 4406"/>
                <a:gd name="T9" fmla="*/ 0 h 1436"/>
                <a:gd name="connsiteX0" fmla="*/ 0 w 10000"/>
                <a:gd name="connsiteY0" fmla="*/ 0 h 5109"/>
                <a:gd name="connsiteX1" fmla="*/ 6359 w 10000"/>
                <a:gd name="connsiteY1" fmla="*/ 5109 h 5109"/>
                <a:gd name="connsiteX2" fmla="*/ 9328 w 10000"/>
                <a:gd name="connsiteY2" fmla="*/ 2820 h 5109"/>
                <a:gd name="connsiteX3" fmla="*/ 10000 w 10000"/>
                <a:gd name="connsiteY3" fmla="*/ 0 h 5109"/>
                <a:gd name="connsiteX4" fmla="*/ 0 w 10000"/>
                <a:gd name="connsiteY4" fmla="*/ 0 h 5109"/>
                <a:gd name="connsiteX0" fmla="*/ 0 w 3709"/>
                <a:gd name="connsiteY0" fmla="*/ 306 h 10000"/>
                <a:gd name="connsiteX1" fmla="*/ 68 w 3709"/>
                <a:gd name="connsiteY1" fmla="*/ 10000 h 10000"/>
                <a:gd name="connsiteX2" fmla="*/ 3037 w 3709"/>
                <a:gd name="connsiteY2" fmla="*/ 5520 h 10000"/>
                <a:gd name="connsiteX3" fmla="*/ 3709 w 3709"/>
                <a:gd name="connsiteY3" fmla="*/ 0 h 10000"/>
                <a:gd name="connsiteX4" fmla="*/ 0 w 3709"/>
                <a:gd name="connsiteY4" fmla="*/ 306 h 10000"/>
                <a:gd name="connsiteX0" fmla="*/ 0 w 10000"/>
                <a:gd name="connsiteY0" fmla="*/ 306 h 9927"/>
                <a:gd name="connsiteX1" fmla="*/ 49 w 10000"/>
                <a:gd name="connsiteY1" fmla="*/ 9927 h 9927"/>
                <a:gd name="connsiteX2" fmla="*/ 8188 w 10000"/>
                <a:gd name="connsiteY2" fmla="*/ 5520 h 9927"/>
                <a:gd name="connsiteX3" fmla="*/ 10000 w 10000"/>
                <a:gd name="connsiteY3" fmla="*/ 0 h 9927"/>
                <a:gd name="connsiteX4" fmla="*/ 0 w 10000"/>
                <a:gd name="connsiteY4" fmla="*/ 306 h 9927"/>
                <a:gd name="connsiteX0" fmla="*/ 0 w 10000"/>
                <a:gd name="connsiteY0" fmla="*/ 308 h 10000"/>
                <a:gd name="connsiteX1" fmla="*/ 205 w 10000"/>
                <a:gd name="connsiteY1" fmla="*/ 10000 h 10000"/>
                <a:gd name="connsiteX2" fmla="*/ 8188 w 10000"/>
                <a:gd name="connsiteY2" fmla="*/ 5561 h 10000"/>
                <a:gd name="connsiteX3" fmla="*/ 10000 w 10000"/>
                <a:gd name="connsiteY3" fmla="*/ 0 h 10000"/>
                <a:gd name="connsiteX4" fmla="*/ 0 w 10000"/>
                <a:gd name="connsiteY4" fmla="*/ 308 h 10000"/>
                <a:gd name="connsiteX0" fmla="*/ 0 w 9864"/>
                <a:gd name="connsiteY0" fmla="*/ 40 h 10000"/>
                <a:gd name="connsiteX1" fmla="*/ 69 w 9864"/>
                <a:gd name="connsiteY1" fmla="*/ 10000 h 10000"/>
                <a:gd name="connsiteX2" fmla="*/ 8052 w 9864"/>
                <a:gd name="connsiteY2" fmla="*/ 5561 h 10000"/>
                <a:gd name="connsiteX3" fmla="*/ 9864 w 9864"/>
                <a:gd name="connsiteY3" fmla="*/ 0 h 10000"/>
                <a:gd name="connsiteX4" fmla="*/ 0 w 9864"/>
                <a:gd name="connsiteY4" fmla="*/ 40 h 10000"/>
                <a:gd name="connsiteX0" fmla="*/ 9 w 9950"/>
                <a:gd name="connsiteY0" fmla="*/ 40 h 10000"/>
                <a:gd name="connsiteX1" fmla="*/ 20 w 9950"/>
                <a:gd name="connsiteY1" fmla="*/ 10000 h 10000"/>
                <a:gd name="connsiteX2" fmla="*/ 8113 w 9950"/>
                <a:gd name="connsiteY2" fmla="*/ 5561 h 10000"/>
                <a:gd name="connsiteX3" fmla="*/ 9950 w 9950"/>
                <a:gd name="connsiteY3" fmla="*/ 0 h 10000"/>
                <a:gd name="connsiteX4" fmla="*/ 9 w 9950"/>
                <a:gd name="connsiteY4" fmla="*/ 40 h 10000"/>
                <a:gd name="connsiteX0" fmla="*/ 19 w 10010"/>
                <a:gd name="connsiteY0" fmla="*/ 40 h 10000"/>
                <a:gd name="connsiteX1" fmla="*/ 30 w 10010"/>
                <a:gd name="connsiteY1" fmla="*/ 10000 h 10000"/>
                <a:gd name="connsiteX2" fmla="*/ 8164 w 10010"/>
                <a:gd name="connsiteY2" fmla="*/ 5561 h 10000"/>
                <a:gd name="connsiteX3" fmla="*/ 10010 w 10010"/>
                <a:gd name="connsiteY3" fmla="*/ 0 h 10000"/>
                <a:gd name="connsiteX4" fmla="*/ 19 w 10010"/>
                <a:gd name="connsiteY4" fmla="*/ 4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10" h="10000">
                  <a:moveTo>
                    <a:pt x="19" y="40"/>
                  </a:moveTo>
                  <a:cubicBezTo>
                    <a:pt x="23" y="3295"/>
                    <a:pt x="-33" y="6745"/>
                    <a:pt x="30" y="10000"/>
                  </a:cubicBezTo>
                  <a:lnTo>
                    <a:pt x="8164" y="5561"/>
                  </a:lnTo>
                  <a:lnTo>
                    <a:pt x="10010" y="0"/>
                  </a:lnTo>
                  <a:lnTo>
                    <a:pt x="19" y="40"/>
                  </a:lnTo>
                  <a:close/>
                </a:path>
              </a:pathLst>
            </a:custGeom>
            <a:solidFill>
              <a:srgbClr val="2C4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/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auto">
            <a:xfrm flipH="1">
              <a:off x="9285761" y="-17200"/>
              <a:ext cx="2940716" cy="846767"/>
            </a:xfrm>
            <a:custGeom>
              <a:avLst/>
              <a:gdLst>
                <a:gd name="T0" fmla="*/ 0 w 4051"/>
                <a:gd name="T1" fmla="*/ 0 h 1363"/>
                <a:gd name="T2" fmla="*/ 0 w 4051"/>
                <a:gd name="T3" fmla="*/ 1363 h 1363"/>
                <a:gd name="T4" fmla="*/ 4051 w 4051"/>
                <a:gd name="T5" fmla="*/ 0 h 1363"/>
                <a:gd name="T6" fmla="*/ 0 w 4051"/>
                <a:gd name="T7" fmla="*/ 0 h 1363"/>
                <a:gd name="connsiteX0" fmla="*/ 6861 w 10000"/>
                <a:gd name="connsiteY0" fmla="*/ 0 h 10164"/>
                <a:gd name="connsiteX1" fmla="*/ 0 w 10000"/>
                <a:gd name="connsiteY1" fmla="*/ 10164 h 10164"/>
                <a:gd name="connsiteX2" fmla="*/ 10000 w 10000"/>
                <a:gd name="connsiteY2" fmla="*/ 164 h 10164"/>
                <a:gd name="connsiteX3" fmla="*/ 6861 w 10000"/>
                <a:gd name="connsiteY3" fmla="*/ 0 h 10164"/>
                <a:gd name="connsiteX0" fmla="*/ 18 w 3157"/>
                <a:gd name="connsiteY0" fmla="*/ 0 h 3312"/>
                <a:gd name="connsiteX1" fmla="*/ 0 w 3157"/>
                <a:gd name="connsiteY1" fmla="*/ 3312 h 3312"/>
                <a:gd name="connsiteX2" fmla="*/ 3157 w 3157"/>
                <a:gd name="connsiteY2" fmla="*/ 164 h 3312"/>
                <a:gd name="connsiteX3" fmla="*/ 18 w 3157"/>
                <a:gd name="connsiteY3" fmla="*/ 0 h 3312"/>
                <a:gd name="connsiteX0" fmla="*/ 57 w 10409"/>
                <a:gd name="connsiteY0" fmla="*/ 167 h 10167"/>
                <a:gd name="connsiteX1" fmla="*/ 0 w 10409"/>
                <a:gd name="connsiteY1" fmla="*/ 10167 h 10167"/>
                <a:gd name="connsiteX2" fmla="*/ 10409 w 10409"/>
                <a:gd name="connsiteY2" fmla="*/ 0 h 10167"/>
                <a:gd name="connsiteX3" fmla="*/ 57 w 10409"/>
                <a:gd name="connsiteY3" fmla="*/ 167 h 10167"/>
                <a:gd name="connsiteX0" fmla="*/ 181 w 10409"/>
                <a:gd name="connsiteY0" fmla="*/ 9 h 10269"/>
                <a:gd name="connsiteX1" fmla="*/ 0 w 10409"/>
                <a:gd name="connsiteY1" fmla="*/ 10269 h 10269"/>
                <a:gd name="connsiteX2" fmla="*/ 10409 w 10409"/>
                <a:gd name="connsiteY2" fmla="*/ 102 h 10269"/>
                <a:gd name="connsiteX3" fmla="*/ 181 w 10409"/>
                <a:gd name="connsiteY3" fmla="*/ 9 h 10269"/>
                <a:gd name="connsiteX0" fmla="*/ 3 w 10231"/>
                <a:gd name="connsiteY0" fmla="*/ 9 h 10269"/>
                <a:gd name="connsiteX1" fmla="*/ 46 w 10231"/>
                <a:gd name="connsiteY1" fmla="*/ 10269 h 10269"/>
                <a:gd name="connsiteX2" fmla="*/ 10231 w 10231"/>
                <a:gd name="connsiteY2" fmla="*/ 102 h 10269"/>
                <a:gd name="connsiteX3" fmla="*/ 3 w 10231"/>
                <a:gd name="connsiteY3" fmla="*/ 9 h 10269"/>
                <a:gd name="connsiteX0" fmla="*/ 0 w 10228"/>
                <a:gd name="connsiteY0" fmla="*/ 9 h 10269"/>
                <a:gd name="connsiteX1" fmla="*/ 43 w 10228"/>
                <a:gd name="connsiteY1" fmla="*/ 10269 h 10269"/>
                <a:gd name="connsiteX2" fmla="*/ 10228 w 10228"/>
                <a:gd name="connsiteY2" fmla="*/ 102 h 10269"/>
                <a:gd name="connsiteX3" fmla="*/ 0 w 10228"/>
                <a:gd name="connsiteY3" fmla="*/ 9 h 10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28" h="10269">
                  <a:moveTo>
                    <a:pt x="0" y="9"/>
                  </a:moveTo>
                  <a:cubicBezTo>
                    <a:pt x="56" y="10013"/>
                    <a:pt x="62" y="6936"/>
                    <a:pt x="43" y="10269"/>
                  </a:cubicBezTo>
                  <a:lnTo>
                    <a:pt x="10228" y="102"/>
                  </a:lnTo>
                  <a:cubicBezTo>
                    <a:pt x="6777" y="158"/>
                    <a:pt x="3451" y="-47"/>
                    <a:pt x="0" y="9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/>
            </a:p>
          </p:txBody>
        </p:sp>
      </p:grpSp>
      <p:sp>
        <p:nvSpPr>
          <p:cNvPr id="83" name="Slide Number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1708432" y="164667"/>
            <a:ext cx="53078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11254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02401"/>
            <a:ext cx="12192000" cy="26328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600" b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4" name="Title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902677" y="856801"/>
            <a:ext cx="10505831" cy="773999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6780853" y="-17200"/>
            <a:ext cx="5445624" cy="1854824"/>
            <a:chOff x="6780853" y="-17200"/>
            <a:chExt cx="5445624" cy="1854824"/>
          </a:xfrm>
        </p:grpSpPr>
        <p:sp>
          <p:nvSpPr>
            <p:cNvPr id="15" name="Freeform 6"/>
            <p:cNvSpPr>
              <a:spLocks/>
            </p:cNvSpPr>
            <p:nvPr/>
          </p:nvSpPr>
          <p:spPr bwMode="auto">
            <a:xfrm flipH="1">
              <a:off x="6780853" y="-1025"/>
              <a:ext cx="5416948" cy="1838649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rgbClr val="B128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 dirty="0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 flipH="1">
              <a:off x="8597477" y="-7720"/>
              <a:ext cx="3609418" cy="1330324"/>
            </a:xfrm>
            <a:custGeom>
              <a:avLst/>
              <a:gdLst>
                <a:gd name="T0" fmla="*/ 0 w 4406"/>
                <a:gd name="T1" fmla="*/ 0 h 1436"/>
                <a:gd name="T2" fmla="*/ 0 w 4406"/>
                <a:gd name="T3" fmla="*/ 1436 h 1436"/>
                <a:gd name="T4" fmla="*/ 4110 w 4406"/>
                <a:gd name="T5" fmla="*/ 405 h 1436"/>
                <a:gd name="T6" fmla="*/ 4406 w 4406"/>
                <a:gd name="T7" fmla="*/ 0 h 1436"/>
                <a:gd name="T8" fmla="*/ 0 w 4406"/>
                <a:gd name="T9" fmla="*/ 0 h 1436"/>
                <a:gd name="connsiteX0" fmla="*/ 0 w 10000"/>
                <a:gd name="connsiteY0" fmla="*/ 0 h 5109"/>
                <a:gd name="connsiteX1" fmla="*/ 6359 w 10000"/>
                <a:gd name="connsiteY1" fmla="*/ 5109 h 5109"/>
                <a:gd name="connsiteX2" fmla="*/ 9328 w 10000"/>
                <a:gd name="connsiteY2" fmla="*/ 2820 h 5109"/>
                <a:gd name="connsiteX3" fmla="*/ 10000 w 10000"/>
                <a:gd name="connsiteY3" fmla="*/ 0 h 5109"/>
                <a:gd name="connsiteX4" fmla="*/ 0 w 10000"/>
                <a:gd name="connsiteY4" fmla="*/ 0 h 5109"/>
                <a:gd name="connsiteX0" fmla="*/ 0 w 3709"/>
                <a:gd name="connsiteY0" fmla="*/ 306 h 10000"/>
                <a:gd name="connsiteX1" fmla="*/ 68 w 3709"/>
                <a:gd name="connsiteY1" fmla="*/ 10000 h 10000"/>
                <a:gd name="connsiteX2" fmla="*/ 3037 w 3709"/>
                <a:gd name="connsiteY2" fmla="*/ 5520 h 10000"/>
                <a:gd name="connsiteX3" fmla="*/ 3709 w 3709"/>
                <a:gd name="connsiteY3" fmla="*/ 0 h 10000"/>
                <a:gd name="connsiteX4" fmla="*/ 0 w 3709"/>
                <a:gd name="connsiteY4" fmla="*/ 306 h 10000"/>
                <a:gd name="connsiteX0" fmla="*/ 0 w 10000"/>
                <a:gd name="connsiteY0" fmla="*/ 306 h 9927"/>
                <a:gd name="connsiteX1" fmla="*/ 49 w 10000"/>
                <a:gd name="connsiteY1" fmla="*/ 9927 h 9927"/>
                <a:gd name="connsiteX2" fmla="*/ 8188 w 10000"/>
                <a:gd name="connsiteY2" fmla="*/ 5520 h 9927"/>
                <a:gd name="connsiteX3" fmla="*/ 10000 w 10000"/>
                <a:gd name="connsiteY3" fmla="*/ 0 h 9927"/>
                <a:gd name="connsiteX4" fmla="*/ 0 w 10000"/>
                <a:gd name="connsiteY4" fmla="*/ 306 h 9927"/>
                <a:gd name="connsiteX0" fmla="*/ 0 w 10000"/>
                <a:gd name="connsiteY0" fmla="*/ 308 h 10000"/>
                <a:gd name="connsiteX1" fmla="*/ 205 w 10000"/>
                <a:gd name="connsiteY1" fmla="*/ 10000 h 10000"/>
                <a:gd name="connsiteX2" fmla="*/ 8188 w 10000"/>
                <a:gd name="connsiteY2" fmla="*/ 5561 h 10000"/>
                <a:gd name="connsiteX3" fmla="*/ 10000 w 10000"/>
                <a:gd name="connsiteY3" fmla="*/ 0 h 10000"/>
                <a:gd name="connsiteX4" fmla="*/ 0 w 10000"/>
                <a:gd name="connsiteY4" fmla="*/ 308 h 10000"/>
                <a:gd name="connsiteX0" fmla="*/ 0 w 9864"/>
                <a:gd name="connsiteY0" fmla="*/ 40 h 10000"/>
                <a:gd name="connsiteX1" fmla="*/ 69 w 9864"/>
                <a:gd name="connsiteY1" fmla="*/ 10000 h 10000"/>
                <a:gd name="connsiteX2" fmla="*/ 8052 w 9864"/>
                <a:gd name="connsiteY2" fmla="*/ 5561 h 10000"/>
                <a:gd name="connsiteX3" fmla="*/ 9864 w 9864"/>
                <a:gd name="connsiteY3" fmla="*/ 0 h 10000"/>
                <a:gd name="connsiteX4" fmla="*/ 0 w 9864"/>
                <a:gd name="connsiteY4" fmla="*/ 40 h 10000"/>
                <a:gd name="connsiteX0" fmla="*/ 9 w 9950"/>
                <a:gd name="connsiteY0" fmla="*/ 40 h 10000"/>
                <a:gd name="connsiteX1" fmla="*/ 20 w 9950"/>
                <a:gd name="connsiteY1" fmla="*/ 10000 h 10000"/>
                <a:gd name="connsiteX2" fmla="*/ 8113 w 9950"/>
                <a:gd name="connsiteY2" fmla="*/ 5561 h 10000"/>
                <a:gd name="connsiteX3" fmla="*/ 9950 w 9950"/>
                <a:gd name="connsiteY3" fmla="*/ 0 h 10000"/>
                <a:gd name="connsiteX4" fmla="*/ 9 w 9950"/>
                <a:gd name="connsiteY4" fmla="*/ 40 h 10000"/>
                <a:gd name="connsiteX0" fmla="*/ 19 w 10010"/>
                <a:gd name="connsiteY0" fmla="*/ 40 h 10000"/>
                <a:gd name="connsiteX1" fmla="*/ 30 w 10010"/>
                <a:gd name="connsiteY1" fmla="*/ 10000 h 10000"/>
                <a:gd name="connsiteX2" fmla="*/ 8164 w 10010"/>
                <a:gd name="connsiteY2" fmla="*/ 5561 h 10000"/>
                <a:gd name="connsiteX3" fmla="*/ 10010 w 10010"/>
                <a:gd name="connsiteY3" fmla="*/ 0 h 10000"/>
                <a:gd name="connsiteX4" fmla="*/ 19 w 10010"/>
                <a:gd name="connsiteY4" fmla="*/ 4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10" h="10000">
                  <a:moveTo>
                    <a:pt x="19" y="40"/>
                  </a:moveTo>
                  <a:cubicBezTo>
                    <a:pt x="23" y="3295"/>
                    <a:pt x="-33" y="6745"/>
                    <a:pt x="30" y="10000"/>
                  </a:cubicBezTo>
                  <a:lnTo>
                    <a:pt x="8164" y="5561"/>
                  </a:lnTo>
                  <a:lnTo>
                    <a:pt x="10010" y="0"/>
                  </a:lnTo>
                  <a:lnTo>
                    <a:pt x="19" y="40"/>
                  </a:lnTo>
                  <a:close/>
                </a:path>
              </a:pathLst>
            </a:custGeom>
            <a:solidFill>
              <a:srgbClr val="2C4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/>
            </a:p>
          </p:txBody>
        </p:sp>
        <p:sp>
          <p:nvSpPr>
            <p:cNvPr id="18" name="Freeform 9"/>
            <p:cNvSpPr>
              <a:spLocks/>
            </p:cNvSpPr>
            <p:nvPr/>
          </p:nvSpPr>
          <p:spPr bwMode="auto">
            <a:xfrm flipH="1">
              <a:off x="9285761" y="-17200"/>
              <a:ext cx="2940716" cy="846767"/>
            </a:xfrm>
            <a:custGeom>
              <a:avLst/>
              <a:gdLst>
                <a:gd name="T0" fmla="*/ 0 w 4051"/>
                <a:gd name="T1" fmla="*/ 0 h 1363"/>
                <a:gd name="T2" fmla="*/ 0 w 4051"/>
                <a:gd name="T3" fmla="*/ 1363 h 1363"/>
                <a:gd name="T4" fmla="*/ 4051 w 4051"/>
                <a:gd name="T5" fmla="*/ 0 h 1363"/>
                <a:gd name="T6" fmla="*/ 0 w 4051"/>
                <a:gd name="T7" fmla="*/ 0 h 1363"/>
                <a:gd name="connsiteX0" fmla="*/ 6861 w 10000"/>
                <a:gd name="connsiteY0" fmla="*/ 0 h 10164"/>
                <a:gd name="connsiteX1" fmla="*/ 0 w 10000"/>
                <a:gd name="connsiteY1" fmla="*/ 10164 h 10164"/>
                <a:gd name="connsiteX2" fmla="*/ 10000 w 10000"/>
                <a:gd name="connsiteY2" fmla="*/ 164 h 10164"/>
                <a:gd name="connsiteX3" fmla="*/ 6861 w 10000"/>
                <a:gd name="connsiteY3" fmla="*/ 0 h 10164"/>
                <a:gd name="connsiteX0" fmla="*/ 18 w 3157"/>
                <a:gd name="connsiteY0" fmla="*/ 0 h 3312"/>
                <a:gd name="connsiteX1" fmla="*/ 0 w 3157"/>
                <a:gd name="connsiteY1" fmla="*/ 3312 h 3312"/>
                <a:gd name="connsiteX2" fmla="*/ 3157 w 3157"/>
                <a:gd name="connsiteY2" fmla="*/ 164 h 3312"/>
                <a:gd name="connsiteX3" fmla="*/ 18 w 3157"/>
                <a:gd name="connsiteY3" fmla="*/ 0 h 3312"/>
                <a:gd name="connsiteX0" fmla="*/ 57 w 10409"/>
                <a:gd name="connsiteY0" fmla="*/ 167 h 10167"/>
                <a:gd name="connsiteX1" fmla="*/ 0 w 10409"/>
                <a:gd name="connsiteY1" fmla="*/ 10167 h 10167"/>
                <a:gd name="connsiteX2" fmla="*/ 10409 w 10409"/>
                <a:gd name="connsiteY2" fmla="*/ 0 h 10167"/>
                <a:gd name="connsiteX3" fmla="*/ 57 w 10409"/>
                <a:gd name="connsiteY3" fmla="*/ 167 h 10167"/>
                <a:gd name="connsiteX0" fmla="*/ 181 w 10409"/>
                <a:gd name="connsiteY0" fmla="*/ 9 h 10269"/>
                <a:gd name="connsiteX1" fmla="*/ 0 w 10409"/>
                <a:gd name="connsiteY1" fmla="*/ 10269 h 10269"/>
                <a:gd name="connsiteX2" fmla="*/ 10409 w 10409"/>
                <a:gd name="connsiteY2" fmla="*/ 102 h 10269"/>
                <a:gd name="connsiteX3" fmla="*/ 181 w 10409"/>
                <a:gd name="connsiteY3" fmla="*/ 9 h 10269"/>
                <a:gd name="connsiteX0" fmla="*/ 3 w 10231"/>
                <a:gd name="connsiteY0" fmla="*/ 9 h 10269"/>
                <a:gd name="connsiteX1" fmla="*/ 46 w 10231"/>
                <a:gd name="connsiteY1" fmla="*/ 10269 h 10269"/>
                <a:gd name="connsiteX2" fmla="*/ 10231 w 10231"/>
                <a:gd name="connsiteY2" fmla="*/ 102 h 10269"/>
                <a:gd name="connsiteX3" fmla="*/ 3 w 10231"/>
                <a:gd name="connsiteY3" fmla="*/ 9 h 10269"/>
                <a:gd name="connsiteX0" fmla="*/ 0 w 10228"/>
                <a:gd name="connsiteY0" fmla="*/ 9 h 10269"/>
                <a:gd name="connsiteX1" fmla="*/ 43 w 10228"/>
                <a:gd name="connsiteY1" fmla="*/ 10269 h 10269"/>
                <a:gd name="connsiteX2" fmla="*/ 10228 w 10228"/>
                <a:gd name="connsiteY2" fmla="*/ 102 h 10269"/>
                <a:gd name="connsiteX3" fmla="*/ 0 w 10228"/>
                <a:gd name="connsiteY3" fmla="*/ 9 h 10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28" h="10269">
                  <a:moveTo>
                    <a:pt x="0" y="9"/>
                  </a:moveTo>
                  <a:cubicBezTo>
                    <a:pt x="56" y="10013"/>
                    <a:pt x="62" y="6936"/>
                    <a:pt x="43" y="10269"/>
                  </a:cubicBezTo>
                  <a:lnTo>
                    <a:pt x="10228" y="102"/>
                  </a:lnTo>
                  <a:cubicBezTo>
                    <a:pt x="6777" y="158"/>
                    <a:pt x="3451" y="-47"/>
                    <a:pt x="0" y="9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/>
            </a:p>
          </p:txBody>
        </p:sp>
      </p:grpSp>
      <p:sp>
        <p:nvSpPr>
          <p:cNvPr id="13" name="Slide Number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1708432" y="164667"/>
            <a:ext cx="53078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11254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02401"/>
            <a:ext cx="12192000" cy="26328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600" b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" name="Slide Number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1708432" y="164667"/>
            <a:ext cx="53078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11254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Location, date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1444431" y="6066000"/>
            <a:ext cx="9441968" cy="370800"/>
          </a:xfrm>
        </p:spPr>
        <p:txBody>
          <a:bodyPr vert="horz" wrap="square" lIns="28800" tIns="0" rIns="0" bIns="0" rtlCol="0" anchor="b" anchorCtr="0">
            <a:noAutofit/>
          </a:bodyPr>
          <a:lstStyle>
            <a:lvl1pPr marL="0" indent="0">
              <a:lnSpc>
                <a:spcPct val="93000"/>
              </a:lnSpc>
              <a:spcBef>
                <a:spcPts val="0"/>
              </a:spcBef>
              <a:defRPr kumimoji="0" lang="en-US" sz="2092" b="0" i="0" u="none" strike="noStrike" kern="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marL="0" marR="0" lvl="0" indent="0" algn="l" defTabSz="1125444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Location, date of presentation (month, day, year)</a:t>
            </a:r>
            <a:endParaRPr lang="en-US" dirty="0"/>
          </a:p>
        </p:txBody>
      </p:sp>
      <p:sp>
        <p:nvSpPr>
          <p:cNvPr id="5" name="Type of document"/>
          <p:cNvSpPr>
            <a:spLocks noGrp="1"/>
          </p:cNvSpPr>
          <p:nvPr>
            <p:ph type="body" sz="quarter" idx="15" hasCustomPrompt="1"/>
            <p:custDataLst>
              <p:tags r:id="rId2"/>
            </p:custDataLst>
          </p:nvPr>
        </p:nvSpPr>
        <p:spPr>
          <a:xfrm>
            <a:off x="1444431" y="4566721"/>
            <a:ext cx="9441968" cy="799487"/>
          </a:xfrm>
        </p:spPr>
        <p:txBody>
          <a:bodyPr vert="horz" lIns="14400" tIns="0" rIns="0" bIns="216000" rtlCol="0" anchor="t" anchorCtr="0">
            <a:spAutoFit/>
          </a:bodyPr>
          <a:lstStyle>
            <a:lvl1pPr marL="0" indent="0">
              <a:lnSpc>
                <a:spcPct val="93000"/>
              </a:lnSpc>
              <a:spcBef>
                <a:spcPts val="0"/>
              </a:spcBef>
              <a:defRPr kumimoji="0" lang="en-US" sz="4062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1125444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ype of document</a:t>
            </a:r>
            <a:endParaRPr lang="en-US" dirty="0"/>
          </a:p>
        </p:txBody>
      </p:sp>
      <p:sp>
        <p:nvSpPr>
          <p:cNvPr id="6" name="Project name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444431" y="3498550"/>
            <a:ext cx="9441968" cy="1003801"/>
          </a:xfrm>
        </p:spPr>
        <p:txBody>
          <a:bodyPr vert="horz" lIns="0" tIns="0" rIns="0" bIns="0" rtlCol="0" anchor="b" anchorCtr="0">
            <a:spAutoFit/>
          </a:bodyPr>
          <a:lstStyle>
            <a:lvl1pPr algn="l">
              <a:lnSpc>
                <a:spcPct val="93000"/>
              </a:lnSpc>
              <a:spcBef>
                <a:spcPts val="0"/>
              </a:spcBef>
              <a:defRPr kumimoji="0" lang="en-US" sz="6523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11254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4" name="Slide Number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1708432" y="164667"/>
            <a:ext cx="53078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11254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00825"/>
            <a:ext cx="12192000" cy="266700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600" b="0" dirty="0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52" name="Slide Number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551139" y="6718300"/>
            <a:ext cx="141064" cy="170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108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11254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08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56" name="Slide Number Line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11408508" y="6734176"/>
            <a:ext cx="0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en-US" sz="1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Contents Text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902807" y="1996522"/>
            <a:ext cx="10511563" cy="4240263"/>
          </a:xfrm>
        </p:spPr>
        <p:txBody>
          <a:bodyPr>
            <a:spAutoFit/>
          </a:bodyPr>
          <a:lstStyle>
            <a:lvl1pPr marL="443088" indent="-443088">
              <a:spcBef>
                <a:spcPts val="2462"/>
              </a:spcBef>
              <a:tabLst>
                <a:tab pos="10488508" algn="r"/>
              </a:tabLst>
              <a:defRPr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886176" indent="-443088">
              <a:spcBef>
                <a:spcPts val="738"/>
              </a:spcBef>
              <a:buNone/>
              <a:tabLst>
                <a:tab pos="10488508" algn="r"/>
              </a:tabLst>
              <a:defRPr b="0">
                <a:solidFill>
                  <a:schemeClr val="tx1"/>
                </a:solidFill>
              </a:defRPr>
            </a:lvl2pPr>
            <a:lvl3pPr marL="1550808" indent="-664632">
              <a:spcBef>
                <a:spcPts val="0"/>
              </a:spcBef>
              <a:buNone/>
              <a:tabLst>
                <a:tab pos="10488508" algn="r"/>
              </a:tabLst>
              <a:defRPr>
                <a:solidFill>
                  <a:schemeClr val="tx1"/>
                </a:solidFill>
              </a:defRPr>
            </a:lvl3pPr>
            <a:lvl4pPr marL="1545532" indent="-658463">
              <a:buNone/>
              <a:tabLst>
                <a:tab pos="10488508" algn="r"/>
              </a:tabLst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A.	xxx	xx</a:t>
            </a:r>
          </a:p>
          <a:p>
            <a:pPr lvl="0"/>
            <a:r>
              <a:rPr lang="en-US" dirty="0" smtClean="0"/>
              <a:t>B.	xxx	xx</a:t>
            </a:r>
          </a:p>
          <a:p>
            <a:pPr lvl="1"/>
            <a:r>
              <a:rPr lang="en-US" dirty="0" smtClean="0"/>
              <a:t>1.	xxx	xx</a:t>
            </a:r>
          </a:p>
          <a:p>
            <a:pPr lvl="1"/>
            <a:r>
              <a:rPr lang="en-US" dirty="0" smtClean="0"/>
              <a:t>2.	xxx	xx</a:t>
            </a:r>
          </a:p>
          <a:p>
            <a:pPr lvl="2"/>
            <a:r>
              <a:rPr lang="en-US" dirty="0" smtClean="0"/>
              <a:t>2.1	xxx	xx</a:t>
            </a:r>
          </a:p>
          <a:p>
            <a:pPr lvl="2"/>
            <a:r>
              <a:rPr lang="en-US" dirty="0" smtClean="0"/>
              <a:t>2.2	xxx	xx</a:t>
            </a:r>
          </a:p>
          <a:p>
            <a:pPr lvl="0"/>
            <a:r>
              <a:rPr lang="en-US" dirty="0" smtClean="0"/>
              <a:t>C.	xxx	xx</a:t>
            </a:r>
          </a:p>
          <a:p>
            <a:pPr lvl="1"/>
            <a:r>
              <a:rPr lang="en-US" dirty="0" smtClean="0"/>
              <a:t>1.	xxx	xx</a:t>
            </a:r>
          </a:p>
          <a:p>
            <a:pPr lvl="2"/>
            <a:r>
              <a:rPr lang="en-US" dirty="0" smtClean="0"/>
              <a:t>1.1	xxx	xx</a:t>
            </a:r>
          </a:p>
        </p:txBody>
      </p:sp>
      <p:sp>
        <p:nvSpPr>
          <p:cNvPr id="10" name="Contents Title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902807" y="857851"/>
            <a:ext cx="10515470" cy="4755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>
              <a:lnSpc>
                <a:spcPct val="93000"/>
              </a:lnSpc>
              <a:defRPr/>
            </a:lvl1pPr>
          </a:lstStyle>
          <a:p>
            <a:pPr marL="0" marR="0" lvl="0" indent="0" algn="l" defTabSz="1125444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0492416" algn="r"/>
              </a:tabLst>
              <a:defRPr/>
            </a:pPr>
            <a:r>
              <a:rPr kumimoji="0" lang="ru-RU" altLang="de-DE" sz="3323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Оглавление</a:t>
            </a:r>
            <a:r>
              <a:rPr kumimoji="0" lang="en-US" altLang="de-DE" sz="3323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	</a:t>
            </a:r>
            <a:endParaRPr kumimoji="0" lang="en-US" altLang="de-DE" sz="3323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4" name="Title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1910861" y="857850"/>
            <a:ext cx="1195732" cy="38638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r" defTabSz="1125444" rtl="0" eaLnBrk="1" latinLnBrk="0" hangingPunct="1">
              <a:lnSpc>
                <a:spcPct val="93000"/>
              </a:lnSpc>
              <a:spcBef>
                <a:spcPct val="0"/>
              </a:spcBef>
              <a:buNone/>
              <a:tabLst>
                <a:tab pos="1195784" algn="r"/>
              </a:tabLst>
              <a:defRPr lang="en-US" sz="3323" b="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  </a:t>
            </a:r>
            <a:endParaRPr lang="en-US" dirty="0"/>
          </a:p>
        </p:txBody>
      </p:sp>
      <p:grpSp>
        <p:nvGrpSpPr>
          <p:cNvPr id="19" name="Группа 18"/>
          <p:cNvGrpSpPr/>
          <p:nvPr userDrawn="1"/>
        </p:nvGrpSpPr>
        <p:grpSpPr>
          <a:xfrm>
            <a:off x="6780853" y="-17200"/>
            <a:ext cx="5445624" cy="1854824"/>
            <a:chOff x="6780853" y="-17200"/>
            <a:chExt cx="5445624" cy="1854824"/>
          </a:xfrm>
        </p:grpSpPr>
        <p:sp>
          <p:nvSpPr>
            <p:cNvPr id="23" name="Freeform 6"/>
            <p:cNvSpPr>
              <a:spLocks/>
            </p:cNvSpPr>
            <p:nvPr/>
          </p:nvSpPr>
          <p:spPr bwMode="auto">
            <a:xfrm flipH="1">
              <a:off x="6780853" y="-1025"/>
              <a:ext cx="5416948" cy="1838649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  <a:gd name="connsiteX0" fmla="*/ 0 w 10000"/>
                <a:gd name="connsiteY0" fmla="*/ 0 h 4612"/>
                <a:gd name="connsiteX1" fmla="*/ 5345 w 10000"/>
                <a:gd name="connsiteY1" fmla="*/ 4612 h 4612"/>
                <a:gd name="connsiteX2" fmla="*/ 10000 w 10000"/>
                <a:gd name="connsiteY2" fmla="*/ 0 h 4612"/>
                <a:gd name="connsiteX3" fmla="*/ 0 w 10000"/>
                <a:gd name="connsiteY3" fmla="*/ 0 h 4612"/>
                <a:gd name="connsiteX0" fmla="*/ 0 w 4684"/>
                <a:gd name="connsiteY0" fmla="*/ 74 h 10000"/>
                <a:gd name="connsiteX1" fmla="*/ 29 w 4684"/>
                <a:gd name="connsiteY1" fmla="*/ 10000 h 10000"/>
                <a:gd name="connsiteX2" fmla="*/ 4684 w 4684"/>
                <a:gd name="connsiteY2" fmla="*/ 0 h 10000"/>
                <a:gd name="connsiteX3" fmla="*/ 0 w 4684"/>
                <a:gd name="connsiteY3" fmla="*/ 74 h 10000"/>
                <a:gd name="connsiteX0" fmla="*/ 0 w 10000"/>
                <a:gd name="connsiteY0" fmla="*/ 74 h 9961"/>
                <a:gd name="connsiteX1" fmla="*/ 140 w 10000"/>
                <a:gd name="connsiteY1" fmla="*/ 9961 h 9961"/>
                <a:gd name="connsiteX2" fmla="*/ 10000 w 10000"/>
                <a:gd name="connsiteY2" fmla="*/ 0 h 9961"/>
                <a:gd name="connsiteX3" fmla="*/ 0 w 10000"/>
                <a:gd name="connsiteY3" fmla="*/ 74 h 9961"/>
                <a:gd name="connsiteX0" fmla="*/ 9 w 9866"/>
                <a:gd name="connsiteY0" fmla="*/ 0 h 10081"/>
                <a:gd name="connsiteX1" fmla="*/ 6 w 9866"/>
                <a:gd name="connsiteY1" fmla="*/ 10081 h 10081"/>
                <a:gd name="connsiteX2" fmla="*/ 9866 w 9866"/>
                <a:gd name="connsiteY2" fmla="*/ 81 h 10081"/>
                <a:gd name="connsiteX3" fmla="*/ 9 w 9866"/>
                <a:gd name="connsiteY3" fmla="*/ 0 h 10081"/>
                <a:gd name="connsiteX0" fmla="*/ 9 w 10000"/>
                <a:gd name="connsiteY0" fmla="*/ 36 h 9920"/>
                <a:gd name="connsiteX1" fmla="*/ 6 w 10000"/>
                <a:gd name="connsiteY1" fmla="*/ 9920 h 9920"/>
                <a:gd name="connsiteX2" fmla="*/ 10000 w 10000"/>
                <a:gd name="connsiteY2" fmla="*/ 0 h 9920"/>
                <a:gd name="connsiteX3" fmla="*/ 9 w 10000"/>
                <a:gd name="connsiteY3" fmla="*/ 36 h 9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920">
                  <a:moveTo>
                    <a:pt x="9" y="36"/>
                  </a:moveTo>
                  <a:cubicBezTo>
                    <a:pt x="30" y="3331"/>
                    <a:pt x="-15" y="6625"/>
                    <a:pt x="6" y="9920"/>
                  </a:cubicBezTo>
                  <a:lnTo>
                    <a:pt x="10000" y="0"/>
                  </a:lnTo>
                  <a:lnTo>
                    <a:pt x="9" y="36"/>
                  </a:lnTo>
                  <a:close/>
                </a:path>
              </a:pathLst>
            </a:custGeom>
            <a:solidFill>
              <a:srgbClr val="B128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 dirty="0"/>
            </a:p>
          </p:txBody>
        </p:sp>
        <p:sp>
          <p:nvSpPr>
            <p:cNvPr id="24" name="Freeform 8"/>
            <p:cNvSpPr>
              <a:spLocks/>
            </p:cNvSpPr>
            <p:nvPr/>
          </p:nvSpPr>
          <p:spPr bwMode="auto">
            <a:xfrm flipH="1">
              <a:off x="8597477" y="-7720"/>
              <a:ext cx="3609418" cy="1330324"/>
            </a:xfrm>
            <a:custGeom>
              <a:avLst/>
              <a:gdLst>
                <a:gd name="T0" fmla="*/ 0 w 4406"/>
                <a:gd name="T1" fmla="*/ 0 h 1436"/>
                <a:gd name="T2" fmla="*/ 0 w 4406"/>
                <a:gd name="T3" fmla="*/ 1436 h 1436"/>
                <a:gd name="T4" fmla="*/ 4110 w 4406"/>
                <a:gd name="T5" fmla="*/ 405 h 1436"/>
                <a:gd name="T6" fmla="*/ 4406 w 4406"/>
                <a:gd name="T7" fmla="*/ 0 h 1436"/>
                <a:gd name="T8" fmla="*/ 0 w 4406"/>
                <a:gd name="T9" fmla="*/ 0 h 1436"/>
                <a:gd name="connsiteX0" fmla="*/ 0 w 10000"/>
                <a:gd name="connsiteY0" fmla="*/ 0 h 5109"/>
                <a:gd name="connsiteX1" fmla="*/ 6359 w 10000"/>
                <a:gd name="connsiteY1" fmla="*/ 5109 h 5109"/>
                <a:gd name="connsiteX2" fmla="*/ 9328 w 10000"/>
                <a:gd name="connsiteY2" fmla="*/ 2820 h 5109"/>
                <a:gd name="connsiteX3" fmla="*/ 10000 w 10000"/>
                <a:gd name="connsiteY3" fmla="*/ 0 h 5109"/>
                <a:gd name="connsiteX4" fmla="*/ 0 w 10000"/>
                <a:gd name="connsiteY4" fmla="*/ 0 h 5109"/>
                <a:gd name="connsiteX0" fmla="*/ 0 w 3709"/>
                <a:gd name="connsiteY0" fmla="*/ 306 h 10000"/>
                <a:gd name="connsiteX1" fmla="*/ 68 w 3709"/>
                <a:gd name="connsiteY1" fmla="*/ 10000 h 10000"/>
                <a:gd name="connsiteX2" fmla="*/ 3037 w 3709"/>
                <a:gd name="connsiteY2" fmla="*/ 5520 h 10000"/>
                <a:gd name="connsiteX3" fmla="*/ 3709 w 3709"/>
                <a:gd name="connsiteY3" fmla="*/ 0 h 10000"/>
                <a:gd name="connsiteX4" fmla="*/ 0 w 3709"/>
                <a:gd name="connsiteY4" fmla="*/ 306 h 10000"/>
                <a:gd name="connsiteX0" fmla="*/ 0 w 10000"/>
                <a:gd name="connsiteY0" fmla="*/ 306 h 9927"/>
                <a:gd name="connsiteX1" fmla="*/ 49 w 10000"/>
                <a:gd name="connsiteY1" fmla="*/ 9927 h 9927"/>
                <a:gd name="connsiteX2" fmla="*/ 8188 w 10000"/>
                <a:gd name="connsiteY2" fmla="*/ 5520 h 9927"/>
                <a:gd name="connsiteX3" fmla="*/ 10000 w 10000"/>
                <a:gd name="connsiteY3" fmla="*/ 0 h 9927"/>
                <a:gd name="connsiteX4" fmla="*/ 0 w 10000"/>
                <a:gd name="connsiteY4" fmla="*/ 306 h 9927"/>
                <a:gd name="connsiteX0" fmla="*/ 0 w 10000"/>
                <a:gd name="connsiteY0" fmla="*/ 308 h 10000"/>
                <a:gd name="connsiteX1" fmla="*/ 205 w 10000"/>
                <a:gd name="connsiteY1" fmla="*/ 10000 h 10000"/>
                <a:gd name="connsiteX2" fmla="*/ 8188 w 10000"/>
                <a:gd name="connsiteY2" fmla="*/ 5561 h 10000"/>
                <a:gd name="connsiteX3" fmla="*/ 10000 w 10000"/>
                <a:gd name="connsiteY3" fmla="*/ 0 h 10000"/>
                <a:gd name="connsiteX4" fmla="*/ 0 w 10000"/>
                <a:gd name="connsiteY4" fmla="*/ 308 h 10000"/>
                <a:gd name="connsiteX0" fmla="*/ 0 w 9864"/>
                <a:gd name="connsiteY0" fmla="*/ 40 h 10000"/>
                <a:gd name="connsiteX1" fmla="*/ 69 w 9864"/>
                <a:gd name="connsiteY1" fmla="*/ 10000 h 10000"/>
                <a:gd name="connsiteX2" fmla="*/ 8052 w 9864"/>
                <a:gd name="connsiteY2" fmla="*/ 5561 h 10000"/>
                <a:gd name="connsiteX3" fmla="*/ 9864 w 9864"/>
                <a:gd name="connsiteY3" fmla="*/ 0 h 10000"/>
                <a:gd name="connsiteX4" fmla="*/ 0 w 9864"/>
                <a:gd name="connsiteY4" fmla="*/ 40 h 10000"/>
                <a:gd name="connsiteX0" fmla="*/ 9 w 9950"/>
                <a:gd name="connsiteY0" fmla="*/ 40 h 10000"/>
                <a:gd name="connsiteX1" fmla="*/ 20 w 9950"/>
                <a:gd name="connsiteY1" fmla="*/ 10000 h 10000"/>
                <a:gd name="connsiteX2" fmla="*/ 8113 w 9950"/>
                <a:gd name="connsiteY2" fmla="*/ 5561 h 10000"/>
                <a:gd name="connsiteX3" fmla="*/ 9950 w 9950"/>
                <a:gd name="connsiteY3" fmla="*/ 0 h 10000"/>
                <a:gd name="connsiteX4" fmla="*/ 9 w 9950"/>
                <a:gd name="connsiteY4" fmla="*/ 40 h 10000"/>
                <a:gd name="connsiteX0" fmla="*/ 19 w 10010"/>
                <a:gd name="connsiteY0" fmla="*/ 40 h 10000"/>
                <a:gd name="connsiteX1" fmla="*/ 30 w 10010"/>
                <a:gd name="connsiteY1" fmla="*/ 10000 h 10000"/>
                <a:gd name="connsiteX2" fmla="*/ 8164 w 10010"/>
                <a:gd name="connsiteY2" fmla="*/ 5561 h 10000"/>
                <a:gd name="connsiteX3" fmla="*/ 10010 w 10010"/>
                <a:gd name="connsiteY3" fmla="*/ 0 h 10000"/>
                <a:gd name="connsiteX4" fmla="*/ 19 w 10010"/>
                <a:gd name="connsiteY4" fmla="*/ 4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10" h="10000">
                  <a:moveTo>
                    <a:pt x="19" y="40"/>
                  </a:moveTo>
                  <a:cubicBezTo>
                    <a:pt x="23" y="3295"/>
                    <a:pt x="-33" y="6745"/>
                    <a:pt x="30" y="10000"/>
                  </a:cubicBezTo>
                  <a:lnTo>
                    <a:pt x="8164" y="5561"/>
                  </a:lnTo>
                  <a:lnTo>
                    <a:pt x="10010" y="0"/>
                  </a:lnTo>
                  <a:lnTo>
                    <a:pt x="19" y="40"/>
                  </a:lnTo>
                  <a:close/>
                </a:path>
              </a:pathLst>
            </a:custGeom>
            <a:solidFill>
              <a:srgbClr val="2C4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/>
            </a:p>
          </p:txBody>
        </p:sp>
        <p:sp>
          <p:nvSpPr>
            <p:cNvPr id="25" name="Freeform 9"/>
            <p:cNvSpPr>
              <a:spLocks/>
            </p:cNvSpPr>
            <p:nvPr/>
          </p:nvSpPr>
          <p:spPr bwMode="auto">
            <a:xfrm flipH="1">
              <a:off x="9285761" y="-17200"/>
              <a:ext cx="2940716" cy="846767"/>
            </a:xfrm>
            <a:custGeom>
              <a:avLst/>
              <a:gdLst>
                <a:gd name="T0" fmla="*/ 0 w 4051"/>
                <a:gd name="T1" fmla="*/ 0 h 1363"/>
                <a:gd name="T2" fmla="*/ 0 w 4051"/>
                <a:gd name="T3" fmla="*/ 1363 h 1363"/>
                <a:gd name="T4" fmla="*/ 4051 w 4051"/>
                <a:gd name="T5" fmla="*/ 0 h 1363"/>
                <a:gd name="T6" fmla="*/ 0 w 4051"/>
                <a:gd name="T7" fmla="*/ 0 h 1363"/>
                <a:gd name="connsiteX0" fmla="*/ 6861 w 10000"/>
                <a:gd name="connsiteY0" fmla="*/ 0 h 10164"/>
                <a:gd name="connsiteX1" fmla="*/ 0 w 10000"/>
                <a:gd name="connsiteY1" fmla="*/ 10164 h 10164"/>
                <a:gd name="connsiteX2" fmla="*/ 10000 w 10000"/>
                <a:gd name="connsiteY2" fmla="*/ 164 h 10164"/>
                <a:gd name="connsiteX3" fmla="*/ 6861 w 10000"/>
                <a:gd name="connsiteY3" fmla="*/ 0 h 10164"/>
                <a:gd name="connsiteX0" fmla="*/ 18 w 3157"/>
                <a:gd name="connsiteY0" fmla="*/ 0 h 3312"/>
                <a:gd name="connsiteX1" fmla="*/ 0 w 3157"/>
                <a:gd name="connsiteY1" fmla="*/ 3312 h 3312"/>
                <a:gd name="connsiteX2" fmla="*/ 3157 w 3157"/>
                <a:gd name="connsiteY2" fmla="*/ 164 h 3312"/>
                <a:gd name="connsiteX3" fmla="*/ 18 w 3157"/>
                <a:gd name="connsiteY3" fmla="*/ 0 h 3312"/>
                <a:gd name="connsiteX0" fmla="*/ 57 w 10409"/>
                <a:gd name="connsiteY0" fmla="*/ 167 h 10167"/>
                <a:gd name="connsiteX1" fmla="*/ 0 w 10409"/>
                <a:gd name="connsiteY1" fmla="*/ 10167 h 10167"/>
                <a:gd name="connsiteX2" fmla="*/ 10409 w 10409"/>
                <a:gd name="connsiteY2" fmla="*/ 0 h 10167"/>
                <a:gd name="connsiteX3" fmla="*/ 57 w 10409"/>
                <a:gd name="connsiteY3" fmla="*/ 167 h 10167"/>
                <a:gd name="connsiteX0" fmla="*/ 181 w 10409"/>
                <a:gd name="connsiteY0" fmla="*/ 9 h 10269"/>
                <a:gd name="connsiteX1" fmla="*/ 0 w 10409"/>
                <a:gd name="connsiteY1" fmla="*/ 10269 h 10269"/>
                <a:gd name="connsiteX2" fmla="*/ 10409 w 10409"/>
                <a:gd name="connsiteY2" fmla="*/ 102 h 10269"/>
                <a:gd name="connsiteX3" fmla="*/ 181 w 10409"/>
                <a:gd name="connsiteY3" fmla="*/ 9 h 10269"/>
                <a:gd name="connsiteX0" fmla="*/ 3 w 10231"/>
                <a:gd name="connsiteY0" fmla="*/ 9 h 10269"/>
                <a:gd name="connsiteX1" fmla="*/ 46 w 10231"/>
                <a:gd name="connsiteY1" fmla="*/ 10269 h 10269"/>
                <a:gd name="connsiteX2" fmla="*/ 10231 w 10231"/>
                <a:gd name="connsiteY2" fmla="*/ 102 h 10269"/>
                <a:gd name="connsiteX3" fmla="*/ 3 w 10231"/>
                <a:gd name="connsiteY3" fmla="*/ 9 h 10269"/>
                <a:gd name="connsiteX0" fmla="*/ 0 w 10228"/>
                <a:gd name="connsiteY0" fmla="*/ 9 h 10269"/>
                <a:gd name="connsiteX1" fmla="*/ 43 w 10228"/>
                <a:gd name="connsiteY1" fmla="*/ 10269 h 10269"/>
                <a:gd name="connsiteX2" fmla="*/ 10228 w 10228"/>
                <a:gd name="connsiteY2" fmla="*/ 102 h 10269"/>
                <a:gd name="connsiteX3" fmla="*/ 0 w 10228"/>
                <a:gd name="connsiteY3" fmla="*/ 9 h 10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228" h="10269">
                  <a:moveTo>
                    <a:pt x="0" y="9"/>
                  </a:moveTo>
                  <a:cubicBezTo>
                    <a:pt x="56" y="10013"/>
                    <a:pt x="62" y="6936"/>
                    <a:pt x="43" y="10269"/>
                  </a:cubicBezTo>
                  <a:lnTo>
                    <a:pt x="10228" y="102"/>
                  </a:lnTo>
                  <a:cubicBezTo>
                    <a:pt x="6777" y="158"/>
                    <a:pt x="3451" y="-47"/>
                    <a:pt x="0" y="9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/>
            </a:p>
          </p:txBody>
        </p:sp>
      </p:grpSp>
      <p:sp>
        <p:nvSpPr>
          <p:cNvPr id="26" name="Slide Number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11708432" y="164667"/>
            <a:ext cx="53078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11254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Position Lines"/>
          <p:cNvGrpSpPr/>
          <p:nvPr/>
        </p:nvGrpSpPr>
        <p:grpSpPr>
          <a:xfrm>
            <a:off x="907111" y="6886575"/>
            <a:ext cx="563904" cy="72000"/>
            <a:chOff x="737028" y="6886575"/>
            <a:chExt cx="458172" cy="72000"/>
          </a:xfrm>
        </p:grpSpPr>
        <p:sp>
          <p:nvSpPr>
            <p:cNvPr id="10" name="Line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>
              <a:off x="737028" y="6886575"/>
              <a:ext cx="0" cy="72000"/>
            </a:xfrm>
            <a:prstGeom prst="line">
              <a:avLst/>
            </a:prstGeom>
            <a:noFill/>
            <a:ln w="15875" cmpd="sng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 sz="1600" noProof="0" dirty="0"/>
            </a:p>
          </p:txBody>
        </p:sp>
        <p:sp>
          <p:nvSpPr>
            <p:cNvPr id="11" name="Line"/>
            <p:cNvSpPr>
              <a:spLocks noChangeShapeType="1"/>
            </p:cNvSpPr>
            <p:nvPr>
              <p:custDataLst>
                <p:tags r:id="rId8"/>
              </p:custDataLst>
            </p:nvPr>
          </p:nvSpPr>
          <p:spPr bwMode="auto">
            <a:xfrm>
              <a:off x="1195200" y="6886575"/>
              <a:ext cx="0" cy="72000"/>
            </a:xfrm>
            <a:prstGeom prst="line">
              <a:avLst/>
            </a:prstGeom>
            <a:noFill/>
            <a:ln w="3175" cmpd="sng">
              <a:solidFill>
                <a:schemeClr val="accent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 sz="1600" noProof="0" dirty="0"/>
            </a:p>
          </p:txBody>
        </p:sp>
      </p:grpSp>
      <p:sp>
        <p:nvSpPr>
          <p:cNvPr id="13" name="Rectangle 12"/>
          <p:cNvSpPr/>
          <p:nvPr>
            <p:custDataLst>
              <p:tags r:id="rId1"/>
            </p:custDataLst>
          </p:nvPr>
        </p:nvSpPr>
        <p:spPr>
          <a:xfrm>
            <a:off x="0" y="1"/>
            <a:ext cx="12192000" cy="4445793"/>
          </a:xfrm>
          <a:prstGeom prst="rect">
            <a:avLst/>
          </a:prstGeom>
          <a:solidFill>
            <a:schemeClr val="bg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00" b="0" kern="1200" noProof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>
            <p:custDataLst>
              <p:tags r:id="rId2"/>
            </p:custDataLst>
          </p:nvPr>
        </p:nvSpPr>
        <p:spPr>
          <a:xfrm>
            <a:off x="0" y="4448176"/>
            <a:ext cx="12192000" cy="2409825"/>
          </a:xfrm>
          <a:prstGeom prst="rect">
            <a:avLst/>
          </a:prstGeom>
          <a:solidFill>
            <a:schemeClr val="accent1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600" b="0" noProof="0" dirty="0" smtClean="0">
              <a:solidFill>
                <a:schemeClr val="tx1"/>
              </a:solidFill>
              <a:cs typeface="Arial Narrow" pitchFamily="34" charset="0"/>
            </a:endParaRPr>
          </a:p>
        </p:txBody>
      </p:sp>
      <p:sp>
        <p:nvSpPr>
          <p:cNvPr id="15" name="Line 6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-2931" y="4448175"/>
            <a:ext cx="1219493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endParaRPr lang="en-US" sz="1600" noProof="0" dirty="0"/>
          </a:p>
        </p:txBody>
      </p:sp>
      <p:sp>
        <p:nvSpPr>
          <p:cNvPr id="53" name="Line 4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907111" y="0"/>
            <a:ext cx="0" cy="6861562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sz="1600" noProof="0" dirty="0"/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1514001" y="3785857"/>
            <a:ext cx="9937493" cy="657337"/>
          </a:xfrm>
        </p:spPr>
        <p:txBody>
          <a:bodyPr vert="horz" wrap="square" lIns="0" tIns="0" rIns="0" bIns="180000" rtlCol="0" anchor="b" anchorCtr="0">
            <a:spAutoFit/>
          </a:bodyPr>
          <a:lstStyle>
            <a:lvl1pPr marL="668232" indent="-668232" algn="l" defTabSz="443088" rtl="0" eaLnBrk="1" latinLnBrk="0" hangingPunct="1">
              <a:lnSpc>
                <a:spcPct val="93000"/>
              </a:lnSpc>
              <a:spcBef>
                <a:spcPct val="0"/>
              </a:spcBef>
              <a:buNone/>
              <a:tabLst>
                <a:tab pos="990625" algn="l"/>
              </a:tabLst>
              <a:defRPr kumimoji="0" lang="en-US" sz="3323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668232" marR="0" lvl="0" indent="-668232" algn="l" defTabSz="443088" rtl="0" eaLnBrk="1" fontAlgn="auto" latinLnBrk="0" hangingPunct="1">
              <a:lnSpc>
                <a:spcPct val="9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990625" algn="l"/>
              </a:tabLst>
              <a:defRPr/>
            </a:pPr>
            <a:r>
              <a:rPr lang="en-US" dirty="0" smtClean="0"/>
              <a:t>A.    Click to edit text</a:t>
            </a:r>
            <a:endParaRPr lang="en-US" dirty="0"/>
          </a:p>
        </p:txBody>
      </p:sp>
      <p:sp>
        <p:nvSpPr>
          <p:cNvPr id="22" name="Slide Number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11708432" y="164667"/>
            <a:ext cx="530786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11254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st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1708432" y="164667"/>
            <a:ext cx="53078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11254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nderole Bottom"/>
          <p:cNvSpPr>
            <a:spLocks/>
          </p:cNvSpPr>
          <p:nvPr>
            <p:custDataLst>
              <p:tags r:id="rId1"/>
            </p:custDataLst>
          </p:nvPr>
        </p:nvSpPr>
        <p:spPr>
          <a:xfrm>
            <a:off x="0" y="6602401"/>
            <a:ext cx="12192000" cy="263283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de-DE" sz="1600" b="0" kern="1200" noProof="0" dirty="0" smtClean="0">
              <a:solidFill>
                <a:schemeClr val="tx1"/>
              </a:solidFill>
              <a:latin typeface="+mn-lt"/>
              <a:ea typeface="+mn-ea"/>
              <a:cs typeface="Arial Narrow" pitchFamily="34" charset="0"/>
            </a:endParaRPr>
          </a:p>
        </p:txBody>
      </p:sp>
      <p:sp>
        <p:nvSpPr>
          <p:cNvPr id="8" name="Slide Number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11708432" y="164667"/>
            <a:ext cx="53078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11254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l" defTabSz="112544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!!!Do not delete this text object!!!!_2"/>
          <p:cNvSpPr/>
          <p:nvPr/>
        </p:nvSpPr>
        <p:spPr>
          <a:xfrm>
            <a:off x="-54529" y="-83405"/>
            <a:ext cx="39877" cy="32400"/>
          </a:xfrm>
          <a:prstGeom prst="ellipse">
            <a:avLst/>
          </a:prstGeom>
          <a:solidFill>
            <a:srgbClr val="FF0000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615" tIns="0" rIns="88615" bIns="0" rtlCol="0" anchor="ctr"/>
          <a:lstStyle/>
          <a:p>
            <a:pPr algn="ctr">
              <a:lnSpc>
                <a:spcPct val="93000"/>
              </a:lnSpc>
              <a:spcBef>
                <a:spcPts val="369"/>
              </a:spcBef>
            </a:pPr>
            <a:r>
              <a:rPr lang="de-DE" sz="246" b="1" dirty="0" smtClean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2" name="!!!Do not delete this text object!!!!"/>
          <p:cNvSpPr txBox="1"/>
          <p:nvPr>
            <p:custDataLst>
              <p:tags r:id="rId10"/>
            </p:custDataLst>
          </p:nvPr>
        </p:nvSpPr>
        <p:spPr>
          <a:xfrm>
            <a:off x="0" y="-90288"/>
            <a:ext cx="1215076" cy="56810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l">
              <a:buClr>
                <a:schemeClr val="tx1"/>
              </a:buClr>
              <a:buSzPct val="100000"/>
            </a:pPr>
            <a:r>
              <a:rPr lang="en-GB" sz="369" b="0" noProof="1" smtClean="0">
                <a:solidFill>
                  <a:schemeClr val="bg1"/>
                </a:solidFill>
                <a:latin typeface="+mn-lt"/>
                <a:cs typeface="Arial" pitchFamily="34" charset="0"/>
              </a:rPr>
              <a:t>"A4rb_Premium" – 2012-02_v02 – do not delete this text object!</a:t>
            </a:r>
            <a:r>
              <a:rPr lang="en-GB" sz="369" b="0" baseline="0" noProof="1" smtClean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  <a:r>
              <a:rPr lang="en-GB" sz="369" b="0" noProof="1" smtClean="0">
                <a:solidFill>
                  <a:schemeClr val="bg1"/>
                </a:solidFill>
                <a:latin typeface="+mn-lt"/>
                <a:cs typeface="Arial" pitchFamily="34" charset="0"/>
              </a:rPr>
              <a:t>Speech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902677" y="1996700"/>
            <a:ext cx="10505831" cy="17620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 – Level 0</a:t>
            </a:r>
          </a:p>
          <a:p>
            <a:pPr lvl="1"/>
            <a:r>
              <a:rPr lang="en-US" dirty="0" smtClean="0"/>
              <a:t>Level 1</a:t>
            </a:r>
          </a:p>
          <a:p>
            <a:pPr lvl="2"/>
            <a:r>
              <a:rPr lang="en-US" dirty="0" smtClean="0"/>
              <a:t>Level 2</a:t>
            </a:r>
          </a:p>
          <a:p>
            <a:pPr lvl="3"/>
            <a:r>
              <a:rPr lang="en-US" dirty="0" smtClean="0"/>
              <a:t>Level 3</a:t>
            </a:r>
            <a:endParaRPr lang="en-US" dirty="0"/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902677" y="857475"/>
            <a:ext cx="10505831" cy="7727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4" name="Drawing grid" hidden="1"/>
          <p:cNvGrpSpPr/>
          <p:nvPr>
            <p:custDataLst>
              <p:tags r:id="rId13"/>
            </p:custDataLst>
          </p:nvPr>
        </p:nvGrpSpPr>
        <p:grpSpPr>
          <a:xfrm>
            <a:off x="0" y="0"/>
            <a:ext cx="12192000" cy="6858000"/>
            <a:chOff x="0" y="0"/>
            <a:chExt cx="9906000" cy="6858000"/>
          </a:xfrm>
        </p:grpSpPr>
        <p:cxnSp>
          <p:nvCxnSpPr>
            <p:cNvPr id="27" name="!!!Do not delete!!!"/>
            <p:cNvCxnSpPr/>
            <p:nvPr/>
          </p:nvCxnSpPr>
          <p:spPr>
            <a:xfrm>
              <a:off x="738000" y="0"/>
              <a:ext cx="0" cy="68580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/>
            <p:cNvCxnSpPr/>
            <p:nvPr/>
          </p:nvCxnSpPr>
          <p:spPr>
            <a:xfrm>
              <a:off x="1347787" y="0"/>
              <a:ext cx="0" cy="7493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/>
            <p:cNvCxnSpPr/>
            <p:nvPr/>
          </p:nvCxnSpPr>
          <p:spPr>
            <a:xfrm>
              <a:off x="7740969" y="0"/>
              <a:ext cx="0" cy="7493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!!!Do not delete!!!"/>
            <p:cNvCxnSpPr/>
            <p:nvPr/>
          </p:nvCxnSpPr>
          <p:spPr>
            <a:xfrm>
              <a:off x="8128319" y="0"/>
              <a:ext cx="0" cy="7493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!!!Do not delete!!!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!!!Do not delete!!!"/>
            <p:cNvCxnSpPr/>
            <p:nvPr/>
          </p:nvCxnSpPr>
          <p:spPr>
            <a:xfrm>
              <a:off x="0" y="221454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!!!Do not delete!!!"/>
            <p:cNvCxnSpPr/>
            <p:nvPr/>
          </p:nvCxnSpPr>
          <p:spPr>
            <a:xfrm>
              <a:off x="0" y="496092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!!!Do not delete!!!"/>
            <p:cNvCxnSpPr/>
            <p:nvPr/>
          </p:nvCxnSpPr>
          <p:spPr>
            <a:xfrm>
              <a:off x="0" y="856800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!!!Do not delete!!!"/>
            <p:cNvCxnSpPr/>
            <p:nvPr/>
          </p:nvCxnSpPr>
          <p:spPr>
            <a:xfrm>
              <a:off x="0" y="741599"/>
              <a:ext cx="144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!!!Do not delete!!!"/>
            <p:cNvCxnSpPr/>
            <p:nvPr/>
          </p:nvCxnSpPr>
          <p:spPr>
            <a:xfrm>
              <a:off x="0" y="6416675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!!!Do not delete!!!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!!!Do not delete!!!"/>
            <p:cNvCxnSpPr/>
            <p:nvPr/>
          </p:nvCxnSpPr>
          <p:spPr>
            <a:xfrm>
              <a:off x="0" y="1995488"/>
              <a:ext cx="9271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!!!Do not delete!!!"/>
            <p:cNvCxnSpPr/>
            <p:nvPr/>
          </p:nvCxnSpPr>
          <p:spPr>
            <a:xfrm>
              <a:off x="0" y="3032125"/>
              <a:ext cx="7366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!!!Do not delete!!!"/>
            <p:cNvCxnSpPr/>
            <p:nvPr/>
          </p:nvCxnSpPr>
          <p:spPr>
            <a:xfrm>
              <a:off x="0" y="1763999"/>
              <a:ext cx="144000" cy="0"/>
            </a:xfrm>
            <a:prstGeom prst="line">
              <a:avLst/>
            </a:prstGeom>
            <a:ln w="3175" cap="sq">
              <a:solidFill>
                <a:srgbClr val="C00000"/>
              </a:solidFill>
              <a:prstDash val="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Formatted_text" hidden="1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908540" y="2621661"/>
            <a:ext cx="2436923" cy="127470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3000"/>
              </a:lnSpc>
              <a:buClr>
                <a:schemeClr val="tx1"/>
              </a:buClr>
              <a:buSzPct val="100000"/>
            </a:pPr>
            <a:r>
              <a:rPr lang="de-DE" sz="1846" b="1" dirty="0" smtClean="0">
                <a:latin typeface="+mn-lt"/>
                <a:cs typeface="Arial" pitchFamily="34" charset="0"/>
              </a:rPr>
              <a:t>15 Point Text: Level 0</a:t>
            </a:r>
            <a:endParaRPr lang="de-DE" sz="1846" b="0" dirty="0" smtClean="0">
              <a:latin typeface="+mn-lt"/>
              <a:cs typeface="Arial" pitchFamily="34" charset="0"/>
            </a:endParaRPr>
          </a:p>
          <a:p>
            <a:pPr marL="202554" lvl="1" indent="-202554">
              <a:lnSpc>
                <a:spcPct val="93000"/>
              </a:lnSpc>
              <a:spcBef>
                <a:spcPts val="985"/>
              </a:spcBef>
              <a:buClr>
                <a:schemeClr val="tx1"/>
              </a:buClr>
              <a:buSzPct val="100000"/>
              <a:buFont typeface="Arial Narrow"/>
              <a:buChar char="&gt;"/>
            </a:pPr>
            <a:r>
              <a:rPr lang="de-DE" sz="1846" b="0" dirty="0" smtClean="0">
                <a:latin typeface="+mn-lt"/>
                <a:cs typeface="Arial" pitchFamily="34" charset="0"/>
              </a:rPr>
              <a:t>Level 1</a:t>
            </a:r>
          </a:p>
          <a:p>
            <a:pPr marL="424098" lvl="2" indent="-205718">
              <a:lnSpc>
                <a:spcPct val="93000"/>
              </a:lnSpc>
              <a:spcBef>
                <a:spcPts val="492"/>
              </a:spcBef>
              <a:buClr>
                <a:schemeClr val="tx1"/>
              </a:buClr>
              <a:buSzPct val="100000"/>
              <a:buFont typeface="Arial Narrow"/>
              <a:buChar char="–"/>
            </a:pPr>
            <a:r>
              <a:rPr lang="de-DE" sz="1846" b="0" dirty="0" smtClean="0">
                <a:latin typeface="+mn-lt"/>
                <a:cs typeface="Arial" pitchFamily="34" charset="0"/>
              </a:rPr>
              <a:t>Level 2</a:t>
            </a:r>
          </a:p>
          <a:p>
            <a:pPr marL="613993" lvl="3" indent="-177235">
              <a:lnSpc>
                <a:spcPct val="93000"/>
              </a:lnSpc>
              <a:spcBef>
                <a:spcPts val="246"/>
              </a:spcBef>
              <a:buClr>
                <a:schemeClr val="tx1"/>
              </a:buClr>
              <a:buSzPct val="100000"/>
              <a:buFont typeface="Arial Narrow"/>
              <a:buChar char="-"/>
            </a:pPr>
            <a:r>
              <a:rPr lang="de-DE" sz="1846" b="0" dirty="0" smtClean="0">
                <a:latin typeface="+mn-lt"/>
                <a:cs typeface="Arial" pitchFamily="34" charset="0"/>
              </a:rPr>
              <a:t>Level 3</a:t>
            </a:r>
          </a:p>
        </p:txBody>
      </p:sp>
      <p:sp>
        <p:nvSpPr>
          <p:cNvPr id="46" name="Source" hidden="1"/>
          <p:cNvSpPr txBox="1"/>
          <p:nvPr>
            <p:custDataLst>
              <p:tags r:id="rId15"/>
            </p:custDataLst>
          </p:nvPr>
        </p:nvSpPr>
        <p:spPr>
          <a:xfrm>
            <a:off x="908541" y="6680369"/>
            <a:ext cx="634789" cy="158570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457211" indent="-457211">
              <a:lnSpc>
                <a:spcPct val="93000"/>
              </a:lnSpc>
              <a:buClr>
                <a:schemeClr val="tx1"/>
              </a:buClr>
              <a:buSzPct val="100000"/>
            </a:pPr>
            <a:r>
              <a:rPr lang="de-DE" sz="1108" b="0" dirty="0" smtClean="0">
                <a:latin typeface="+mn-lt"/>
                <a:cs typeface="Arial" pitchFamily="34" charset="0"/>
              </a:rPr>
              <a:t>Source:	</a:t>
            </a:r>
            <a:r>
              <a:rPr lang="de-DE" sz="1108" b="0" dirty="0" err="1" smtClean="0">
                <a:latin typeface="+mn-lt"/>
                <a:cs typeface="Arial" pitchFamily="34" charset="0"/>
              </a:rPr>
              <a:t>xxx</a:t>
            </a:r>
            <a:endParaRPr lang="de-DE" sz="1108" b="0" dirty="0" smtClean="0">
              <a:latin typeface="+mn-lt"/>
              <a:cs typeface="Arial" pitchFamily="34" charset="0"/>
            </a:endParaRPr>
          </a:p>
        </p:txBody>
      </p:sp>
      <p:sp>
        <p:nvSpPr>
          <p:cNvPr id="47" name="Notes" hidden="1"/>
          <p:cNvSpPr txBox="1"/>
          <p:nvPr>
            <p:custDataLst>
              <p:tags r:id="rId16"/>
            </p:custDataLst>
          </p:nvPr>
        </p:nvSpPr>
        <p:spPr>
          <a:xfrm>
            <a:off x="908541" y="6384452"/>
            <a:ext cx="393698" cy="176138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199297" indent="-199297">
              <a:lnSpc>
                <a:spcPct val="93000"/>
              </a:lnSpc>
              <a:buClr>
                <a:schemeClr val="tx1"/>
              </a:buClr>
              <a:buSzPct val="100000"/>
            </a:pPr>
            <a:r>
              <a:rPr lang="de-DE" sz="1231" b="0" dirty="0" smtClean="0">
                <a:latin typeface="+mn-lt"/>
                <a:cs typeface="Arial" pitchFamily="34" charset="0"/>
              </a:rPr>
              <a:t>1)	</a:t>
            </a:r>
            <a:r>
              <a:rPr lang="de-DE" sz="1231" b="0" dirty="0" err="1" smtClean="0">
                <a:latin typeface="+mn-lt"/>
                <a:cs typeface="Arial" pitchFamily="34" charset="0"/>
              </a:rPr>
              <a:t>xxx</a:t>
            </a:r>
            <a:endParaRPr lang="de-DE" sz="1231" b="0" dirty="0" smtClean="0">
              <a:latin typeface="+mn-lt"/>
              <a:cs typeface="Arial" pitchFamily="34" charset="0"/>
            </a:endParaRPr>
          </a:p>
        </p:txBody>
      </p:sp>
      <p:grpSp>
        <p:nvGrpSpPr>
          <p:cNvPr id="5" name="Legend" hidden="1"/>
          <p:cNvGrpSpPr/>
          <p:nvPr>
            <p:custDataLst>
              <p:tags r:id="rId17"/>
            </p:custDataLst>
          </p:nvPr>
        </p:nvGrpSpPr>
        <p:grpSpPr>
          <a:xfrm>
            <a:off x="908541" y="6195220"/>
            <a:ext cx="800135" cy="179153"/>
            <a:chOff x="736600" y="6157119"/>
            <a:chExt cx="650109" cy="179153"/>
          </a:xfrm>
        </p:grpSpPr>
        <p:sp>
          <p:nvSpPr>
            <p:cNvPr id="49" name="LegendIcon"/>
            <p:cNvSpPr/>
            <p:nvPr/>
          </p:nvSpPr>
          <p:spPr>
            <a:xfrm>
              <a:off x="736600" y="6157119"/>
              <a:ext cx="215900" cy="146050"/>
            </a:xfrm>
            <a:prstGeom prst="rect">
              <a:avLst/>
            </a:prstGeom>
            <a:noFill/>
            <a:ln w="9525" cap="flat" cmpd="sng" algn="ctr">
              <a:solidFill>
                <a:srgbClr val="003F56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1125444" eaLnBrk="1" fontAlgn="auto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endParaRPr>
            </a:p>
          </p:txBody>
        </p:sp>
        <p:sp>
          <p:nvSpPr>
            <p:cNvPr id="50" name="LegendText"/>
            <p:cNvSpPr txBox="1"/>
            <p:nvPr/>
          </p:nvSpPr>
          <p:spPr>
            <a:xfrm>
              <a:off x="1035050" y="6160134"/>
              <a:ext cx="351659" cy="176138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t" anchorCtr="0">
              <a:spAutoFit/>
            </a:bodyPr>
            <a:lstStyle/>
            <a:p>
              <a:pPr marL="0" marR="0" lvl="0" indent="0" defTabSz="1125444" eaLnBrk="1" fontAlgn="auto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de-DE" sz="1231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n-lt"/>
                  <a:cs typeface="Arial" pitchFamily="34" charset="0"/>
                </a:rPr>
                <a:t>Legend</a:t>
              </a:r>
            </a:p>
          </p:txBody>
        </p:sp>
      </p:grpSp>
      <p:sp>
        <p:nvSpPr>
          <p:cNvPr id="51" name="Subtitle" hidden="1"/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908541" y="2005020"/>
            <a:ext cx="10502421" cy="369973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3000"/>
              </a:lnSpc>
              <a:buClr>
                <a:schemeClr val="tx1"/>
              </a:buClr>
              <a:buSzPct val="100000"/>
            </a:pPr>
            <a:r>
              <a:rPr lang="de-DE" sz="2585" b="0" dirty="0" err="1" smtClean="0">
                <a:latin typeface="+mn-lt"/>
                <a:cs typeface="Arial" pitchFamily="34" charset="0"/>
              </a:rPr>
              <a:t>Subtitle</a:t>
            </a:r>
            <a:endParaRPr lang="de-DE" sz="2585" b="0" dirty="0" smtClean="0">
              <a:latin typeface="+mn-lt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20" r:id="rId1"/>
    <p:sldLayoutId id="2147484321" r:id="rId2"/>
    <p:sldLayoutId id="2147484322" r:id="rId3"/>
    <p:sldLayoutId id="2147484323" r:id="rId4"/>
    <p:sldLayoutId id="2147484324" r:id="rId5"/>
    <p:sldLayoutId id="2147484325" r:id="rId6"/>
    <p:sldLayoutId id="2147484326" r:id="rId7"/>
    <p:sldLayoutId id="2147484327" r:id="rId8"/>
  </p:sldLayoutIdLst>
  <p:hf hdr="0" dt="0"/>
  <p:txStyles>
    <p:titleStyle>
      <a:lvl1pPr algn="l" defTabSz="1125444" rtl="0" eaLnBrk="1" latinLnBrk="0" hangingPunct="1">
        <a:lnSpc>
          <a:spcPct val="93000"/>
        </a:lnSpc>
        <a:spcBef>
          <a:spcPct val="0"/>
        </a:spcBef>
        <a:buNone/>
        <a:defRPr lang="en-US" sz="3323" b="0" kern="1200" dirty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1125444" rtl="0" eaLnBrk="1" latinLnBrk="0" hangingPunct="1">
        <a:lnSpc>
          <a:spcPct val="93000"/>
        </a:lnSpc>
        <a:spcBef>
          <a:spcPts val="0"/>
        </a:spcBef>
        <a:buFont typeface="Arial" pitchFamily="34" charset="0"/>
        <a:buNone/>
        <a:defRPr lang="en-US" sz="2585" b="1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83576" indent="-283576" algn="l" defTabSz="1125444" rtl="0" eaLnBrk="1" latinLnBrk="0" hangingPunct="1">
        <a:lnSpc>
          <a:spcPct val="93000"/>
        </a:lnSpc>
        <a:spcBef>
          <a:spcPts val="1477"/>
        </a:spcBef>
        <a:buFont typeface="Arial Narrow" pitchFamily="34" charset="0"/>
        <a:buChar char="&gt;"/>
        <a:defRPr lang="en-US" sz="2585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93738" indent="-288007" algn="l" defTabSz="1125444" rtl="0" eaLnBrk="1" latinLnBrk="0" hangingPunct="1">
        <a:lnSpc>
          <a:spcPct val="93000"/>
        </a:lnSpc>
        <a:spcBef>
          <a:spcPts val="492"/>
        </a:spcBef>
        <a:buFont typeface="Arial Narrow" pitchFamily="34" charset="0"/>
        <a:buChar char="–"/>
        <a:defRPr lang="en-US" sz="2585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59591" indent="-248129" algn="l" defTabSz="1125444" rtl="0" eaLnBrk="1" latinLnBrk="0" hangingPunct="1">
        <a:lnSpc>
          <a:spcPct val="93000"/>
        </a:lnSpc>
        <a:spcBef>
          <a:spcPts val="246"/>
        </a:spcBef>
        <a:buFont typeface="Arial Narrow" pitchFamily="34" charset="0"/>
        <a:buChar char="-"/>
        <a:defRPr lang="en-US" sz="2585" b="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59591" indent="0" algn="l" defTabSz="1125444" rtl="0" eaLnBrk="1" latinLnBrk="0" hangingPunct="1">
        <a:lnSpc>
          <a:spcPct val="93000"/>
        </a:lnSpc>
        <a:spcBef>
          <a:spcPts val="0"/>
        </a:spcBef>
        <a:buFont typeface="Arial" pitchFamily="34" charset="0"/>
        <a:buNone/>
        <a:defRPr sz="2092" kern="1200">
          <a:solidFill>
            <a:schemeClr val="tx1"/>
          </a:solidFill>
          <a:latin typeface="Arial" pitchFamily="34" charset="0"/>
          <a:ea typeface="+mn-ea"/>
          <a:cs typeface="+mn-cs"/>
        </a:defRPr>
      </a:lvl5pPr>
      <a:lvl6pPr marL="3094970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mailto:kontrkom@tularegion.ru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hyperlink" Target="mailto:&#1040;leksandr.Bibikov@tularegion.ru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-923717" y="0"/>
            <a:ext cx="13115718" cy="4311161"/>
            <a:chOff x="-923717" y="0"/>
            <a:chExt cx="13115718" cy="4311161"/>
          </a:xfrm>
        </p:grpSpPr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auto">
            <a:xfrm flipH="1">
              <a:off x="-923717" y="0"/>
              <a:ext cx="13111222" cy="43111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/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 flipH="1">
              <a:off x="470137" y="0"/>
              <a:ext cx="11721864" cy="4089071"/>
            </a:xfrm>
            <a:custGeom>
              <a:avLst/>
              <a:gdLst>
                <a:gd name="T0" fmla="*/ 0 w 5214"/>
                <a:gd name="T1" fmla="*/ 0 h 2191"/>
                <a:gd name="T2" fmla="*/ 0 w 5214"/>
                <a:gd name="T3" fmla="*/ 2191 h 2191"/>
                <a:gd name="T4" fmla="*/ 5214 w 5214"/>
                <a:gd name="T5" fmla="*/ 0 h 2191"/>
                <a:gd name="T6" fmla="*/ 0 w 5214"/>
                <a:gd name="T7" fmla="*/ 0 h 2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14" h="2191">
                  <a:moveTo>
                    <a:pt x="0" y="0"/>
                  </a:moveTo>
                  <a:lnTo>
                    <a:pt x="0" y="2191"/>
                  </a:lnTo>
                  <a:lnTo>
                    <a:pt x="521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128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/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 flipH="1">
              <a:off x="4988922" y="0"/>
              <a:ext cx="6820893" cy="1950287"/>
            </a:xfrm>
            <a:custGeom>
              <a:avLst/>
              <a:gdLst>
                <a:gd name="T0" fmla="*/ 953 w 3034"/>
                <a:gd name="T1" fmla="*/ 0 h 1045"/>
                <a:gd name="T2" fmla="*/ 0 w 3034"/>
                <a:gd name="T3" fmla="*/ 1045 h 1045"/>
                <a:gd name="T4" fmla="*/ 3034 w 3034"/>
                <a:gd name="T5" fmla="*/ 0 h 1045"/>
                <a:gd name="T6" fmla="*/ 953 w 3034"/>
                <a:gd name="T7" fmla="*/ 0 h 10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34" h="1045">
                  <a:moveTo>
                    <a:pt x="953" y="0"/>
                  </a:moveTo>
                  <a:lnTo>
                    <a:pt x="0" y="1045"/>
                  </a:lnTo>
                  <a:lnTo>
                    <a:pt x="3034" y="0"/>
                  </a:lnTo>
                  <a:lnTo>
                    <a:pt x="953" y="0"/>
                  </a:lnTo>
                  <a:close/>
                </a:path>
              </a:pathLst>
            </a:custGeom>
            <a:solidFill>
              <a:srgbClr val="B511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/>
            </a:p>
          </p:txBody>
        </p:sp>
        <p:sp>
          <p:nvSpPr>
            <p:cNvPr id="26" name="Freeform 8"/>
            <p:cNvSpPr>
              <a:spLocks/>
            </p:cNvSpPr>
            <p:nvPr/>
          </p:nvSpPr>
          <p:spPr bwMode="auto">
            <a:xfrm flipH="1">
              <a:off x="2286644" y="0"/>
              <a:ext cx="9905357" cy="2680012"/>
            </a:xfrm>
            <a:custGeom>
              <a:avLst/>
              <a:gdLst>
                <a:gd name="T0" fmla="*/ 0 w 4406"/>
                <a:gd name="T1" fmla="*/ 0 h 1436"/>
                <a:gd name="T2" fmla="*/ 0 w 4406"/>
                <a:gd name="T3" fmla="*/ 1436 h 1436"/>
                <a:gd name="T4" fmla="*/ 4110 w 4406"/>
                <a:gd name="T5" fmla="*/ 405 h 1436"/>
                <a:gd name="T6" fmla="*/ 4406 w 4406"/>
                <a:gd name="T7" fmla="*/ 0 h 1436"/>
                <a:gd name="T8" fmla="*/ 0 w 4406"/>
                <a:gd name="T9" fmla="*/ 0 h 1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06" h="1436">
                  <a:moveTo>
                    <a:pt x="0" y="0"/>
                  </a:moveTo>
                  <a:lnTo>
                    <a:pt x="0" y="1436"/>
                  </a:lnTo>
                  <a:lnTo>
                    <a:pt x="4110" y="405"/>
                  </a:lnTo>
                  <a:lnTo>
                    <a:pt x="440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C41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/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 flipH="1">
              <a:off x="3084738" y="0"/>
              <a:ext cx="9107263" cy="2543772"/>
            </a:xfrm>
            <a:custGeom>
              <a:avLst/>
              <a:gdLst>
                <a:gd name="T0" fmla="*/ 0 w 4051"/>
                <a:gd name="T1" fmla="*/ 0 h 1363"/>
                <a:gd name="T2" fmla="*/ 0 w 4051"/>
                <a:gd name="T3" fmla="*/ 1363 h 1363"/>
                <a:gd name="T4" fmla="*/ 4051 w 4051"/>
                <a:gd name="T5" fmla="*/ 0 h 1363"/>
                <a:gd name="T6" fmla="*/ 0 w 4051"/>
                <a:gd name="T7" fmla="*/ 0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51" h="1363">
                  <a:moveTo>
                    <a:pt x="0" y="0"/>
                  </a:moveTo>
                  <a:lnTo>
                    <a:pt x="0" y="1363"/>
                  </a:lnTo>
                  <a:lnTo>
                    <a:pt x="405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12542" tIns="56271" rIns="112542" bIns="56271" numCol="1" anchor="t" anchorCtr="0" compatLnSpc="1">
              <a:prstTxWarp prst="textNoShape">
                <a:avLst/>
              </a:prstTxWarp>
            </a:bodyPr>
            <a:lstStyle/>
            <a:p>
              <a:endParaRPr lang="ru-RU" sz="1600"/>
            </a:p>
          </p:txBody>
        </p:sp>
      </p:grpSp>
      <p:sp>
        <p:nvSpPr>
          <p:cNvPr id="4" name="Title 3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444431" y="3927164"/>
            <a:ext cx="9441968" cy="933589"/>
          </a:xfrm>
        </p:spPr>
        <p:txBody>
          <a:bodyPr/>
          <a:lstStyle/>
          <a:p>
            <a:r>
              <a:rPr lang="ru-RU" dirty="0">
                <a:latin typeface="Calibri" panose="020F0502020204030204" pitchFamily="34" charset="0"/>
              </a:rPr>
              <a:t>ОТЧЁТ</a:t>
            </a:r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2815047" y="753915"/>
            <a:ext cx="6135524" cy="1068796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 defTabSz="914400" rtl="0" eaLnBrk="1" latinLnBrk="0" hangingPunct="1">
              <a:lnSpc>
                <a:spcPct val="93000"/>
              </a:lnSpc>
              <a:spcBef>
                <a:spcPts val="0"/>
              </a:spcBef>
              <a:buNone/>
              <a:defRPr kumimoji="0" lang="en-US" sz="53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endParaRPr lang="ru-RU" sz="6646" dirty="0">
              <a:solidFill>
                <a:schemeClr val="tx2">
                  <a:lumMod val="50000"/>
                </a:scheme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Подзаголовок 2"/>
          <p:cNvSpPr txBox="1">
            <a:spLocks/>
          </p:cNvSpPr>
          <p:nvPr/>
        </p:nvSpPr>
        <p:spPr>
          <a:xfrm>
            <a:off x="2038309" y="1908854"/>
            <a:ext cx="8088332" cy="904686"/>
          </a:xfrm>
          <a:prstGeom prst="rect">
            <a:avLst/>
          </a:prstGeom>
        </p:spPr>
        <p:txBody>
          <a:bodyPr vert="horz" lIns="112542" tIns="56271" rIns="112542" bIns="56271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2462" dirty="0"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/>
          </p:nvPr>
        </p:nvSpPr>
        <p:spPr>
          <a:xfrm>
            <a:off x="867508" y="3247085"/>
            <a:ext cx="9441968" cy="1962241"/>
          </a:xfrm>
        </p:spPr>
        <p:txBody>
          <a:bodyPr/>
          <a:lstStyle/>
          <a:p>
            <a:pPr algn="ctr"/>
            <a:r>
              <a:rPr lang="ru-RU" dirty="0" smtClean="0">
                <a:solidFill>
                  <a:schemeClr val="tx2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«Практика реализации контрольной деятельности в сфере закупок в Тульской области»</a:t>
            </a:r>
            <a:endParaRPr lang="ru-RU" dirty="0">
              <a:solidFill>
                <a:schemeClr val="tx2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/>
          </p:nvPr>
        </p:nvSpPr>
        <p:spPr>
          <a:xfrm>
            <a:off x="191344" y="5558313"/>
            <a:ext cx="12279449" cy="697840"/>
          </a:xfrm>
        </p:spPr>
        <p:txBody>
          <a:bodyPr/>
          <a:lstStyle/>
          <a:p>
            <a:r>
              <a:rPr lang="ru-RU" sz="2400" dirty="0" smtClean="0">
                <a:solidFill>
                  <a:srgbClr val="C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ПИКЕР: </a:t>
            </a:r>
            <a:r>
              <a:rPr lang="ru-RU" sz="2400" dirty="0" smtClean="0">
                <a:solidFill>
                  <a:schemeClr val="tx2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Бибиков А.А.  - Председатель контрольного комитета  Тульской области                                                         </a:t>
            </a:r>
            <a:r>
              <a:rPr lang="ru-RU" sz="2400" dirty="0" smtClean="0">
                <a:solidFill>
                  <a:srgbClr val="C00000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ДАТА: </a:t>
            </a:r>
            <a:r>
              <a:rPr lang="ru-RU" sz="2400" dirty="0" smtClean="0">
                <a:solidFill>
                  <a:schemeClr val="tx2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21.04.2016</a:t>
            </a:r>
            <a:endParaRPr lang="ru-RU" sz="2400" dirty="0">
              <a:solidFill>
                <a:schemeClr val="tx2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5"/>
          </p:nvPr>
        </p:nvSpPr>
        <p:spPr>
          <a:xfrm>
            <a:off x="267938" y="2144028"/>
            <a:ext cx="9441968" cy="799487"/>
          </a:xfrm>
        </p:spPr>
        <p:txBody>
          <a:bodyPr/>
          <a:lstStyle/>
          <a:p>
            <a:r>
              <a:rPr lang="ru-RU" b="1" dirty="0" smtClean="0">
                <a:solidFill>
                  <a:schemeClr val="accent1"/>
                </a:solidFill>
                <a:latin typeface="Calibri" panose="020F0502020204030204" pitchFamily="34" charset="0"/>
              </a:rPr>
              <a:t>ПЛЕНАРНОЕ ЗАСЕДАНИЕ</a:t>
            </a:r>
            <a:endParaRPr lang="ru-RU" b="1" dirty="0"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8059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/>
              <a:t>Контрольный комитет Тульской области </a:t>
            </a:r>
            <a:endParaRPr lang="ru-RU" b="1" dirty="0"/>
          </a:p>
        </p:txBody>
      </p:sp>
      <p:sp>
        <p:nvSpPr>
          <p:cNvPr id="26" name="Text12"/>
          <p:cNvSpPr>
            <a:spLocks noChangeArrowheads="1"/>
          </p:cNvSpPr>
          <p:nvPr/>
        </p:nvSpPr>
        <p:spPr bwMode="auto">
          <a:xfrm>
            <a:off x="1261265" y="3175523"/>
            <a:ext cx="4480235" cy="2985433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just"/>
            <a:r>
              <a:rPr lang="ru-RU" sz="1800" i="1" dirty="0" smtClean="0">
                <a:latin typeface="+mn-lt"/>
              </a:rPr>
              <a:t>- самостоятельный орган исполнительной власти; </a:t>
            </a:r>
          </a:p>
          <a:p>
            <a:pPr marL="285750" indent="-285750" algn="just">
              <a:buFontTx/>
              <a:buChar char="-"/>
            </a:pPr>
            <a:endParaRPr lang="ru-RU" sz="1800" i="1" dirty="0" smtClean="0">
              <a:latin typeface="+mn-lt"/>
            </a:endParaRPr>
          </a:p>
          <a:p>
            <a:pPr algn="just"/>
            <a:r>
              <a:rPr lang="ru-RU" sz="1800" i="1" dirty="0" smtClean="0">
                <a:latin typeface="+mn-lt"/>
              </a:rPr>
              <a:t>-  курируется заместителем губернатора области; </a:t>
            </a:r>
          </a:p>
          <a:p>
            <a:pPr marL="285750" indent="-285750" algn="just">
              <a:buFontTx/>
              <a:buChar char="-"/>
            </a:pPr>
            <a:endParaRPr lang="ru-RU" sz="1800" i="1" dirty="0" smtClean="0">
              <a:latin typeface="+mn-lt"/>
            </a:endParaRPr>
          </a:p>
          <a:p>
            <a:pPr algn="just"/>
            <a:r>
              <a:rPr lang="ru-RU" sz="1800" i="1" dirty="0" smtClean="0">
                <a:latin typeface="+mn-lt"/>
              </a:rPr>
              <a:t>-  процедурный контроль и внутренний финансовый контроль осуществляется                           11 сотрудниками </a:t>
            </a:r>
          </a:p>
          <a:p>
            <a:pPr marL="285750" indent="-285750">
              <a:buFontTx/>
              <a:buChar char="-"/>
            </a:pPr>
            <a:endParaRPr lang="ru-RU" sz="1600" b="0" dirty="0">
              <a:latin typeface="+mn-lt"/>
            </a:endParaRPr>
          </a:p>
          <a:p>
            <a:pPr marL="285750" indent="-285750">
              <a:buFontTx/>
              <a:buChar char="-"/>
            </a:pPr>
            <a:endParaRPr lang="ru-RU" sz="1600" b="0" dirty="0">
              <a:latin typeface="+mn-lt"/>
            </a:endParaRPr>
          </a:p>
        </p:txBody>
      </p:sp>
      <p:sp>
        <p:nvSpPr>
          <p:cNvPr id="27" name="Line 5"/>
          <p:cNvSpPr>
            <a:spLocks noChangeShapeType="1"/>
          </p:cNvSpPr>
          <p:nvPr/>
        </p:nvSpPr>
        <p:spPr bwMode="auto">
          <a:xfrm>
            <a:off x="1261265" y="3021169"/>
            <a:ext cx="4480235" cy="0"/>
          </a:xfrm>
          <a:prstGeom prst="line">
            <a:avLst/>
          </a:prstGeom>
          <a:noFill/>
          <a:ln w="22225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endParaRPr lang="ru-RU" sz="160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76575" y="2041162"/>
            <a:ext cx="5252916" cy="4340166"/>
          </a:xfrm>
          <a:prstGeom prst="rect">
            <a:avLst/>
          </a:prstGeom>
          <a:noFill/>
          <a:ln w="28575" cmpd="sng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615" tIns="0" rIns="88615" bIns="0" rtlCol="0" anchor="ctr"/>
          <a:lstStyle/>
          <a:p>
            <a:pPr algn="ctr">
              <a:lnSpc>
                <a:spcPct val="90000"/>
              </a:lnSpc>
              <a:spcBef>
                <a:spcPts val="369"/>
              </a:spcBef>
            </a:pPr>
            <a:endParaRPr lang="ru-RU" sz="1846" b="0" dirty="0">
              <a:solidFill>
                <a:schemeClr val="tx1"/>
              </a:solidFill>
              <a:cs typeface="Arial" pitchFamily="34" charset="0"/>
            </a:endParaRPr>
          </a:p>
        </p:txBody>
      </p:sp>
      <p:graphicFrame>
        <p:nvGraphicFramePr>
          <p:cNvPr id="18" name="Схема 17"/>
          <p:cNvGraphicFramePr/>
          <p:nvPr>
            <p:extLst>
              <p:ext uri="{D42A27DB-BD31-4B8C-83A1-F6EECF244321}">
                <p14:modId xmlns:p14="http://schemas.microsoft.com/office/powerpoint/2010/main" val="700476886"/>
              </p:ext>
            </p:extLst>
          </p:nvPr>
        </p:nvGraphicFramePr>
        <p:xfrm>
          <a:off x="6418718" y="3475046"/>
          <a:ext cx="5349297" cy="26830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1" y="1914195"/>
            <a:ext cx="227347" cy="1079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12542" tIns="56271" rIns="112542" bIns="56271" numCol="1" anchor="ctr" anchorCtr="0" compatLnSpc="1">
            <a:prstTxWarp prst="textNoShape">
              <a:avLst/>
            </a:prstTxWarp>
            <a:spAutoFit/>
          </a:bodyPr>
          <a:lstStyle/>
          <a:p>
            <a:pPr defTabSz="1125444" eaLnBrk="0" hangingPunct="0"/>
            <a:endParaRPr lang="ru-RU" altLang="ru-RU" sz="1354" b="0">
              <a:ea typeface="Times New Roman" panose="02020603050405020304" pitchFamily="18" charset="0"/>
            </a:endParaRPr>
          </a:p>
          <a:p>
            <a:pPr defTabSz="1125444" eaLnBrk="0" hangingPunct="0"/>
            <a:r>
              <a:rPr lang="ru-RU" altLang="ru-RU" sz="1354" b="0">
                <a:latin typeface="Arial" panose="020B0604020202020204" pitchFamily="34" charset="0"/>
                <a:ea typeface="Times New Roman" panose="02020603050405020304" pitchFamily="18" charset="0"/>
              </a:rPr>
              <a:t/>
            </a:r>
            <a:br>
              <a:rPr lang="ru-RU" altLang="ru-RU" sz="1354" b="0"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ru-RU" altLang="ru-RU" sz="1354" b="0">
                <a:latin typeface="Arial" panose="020B0604020202020204" pitchFamily="34" charset="0"/>
                <a:ea typeface="Times New Roman" panose="02020603050405020304" pitchFamily="18" charset="0"/>
              </a:rPr>
              <a:t/>
            </a:r>
            <a:br>
              <a:rPr lang="ru-RU" altLang="ru-RU" sz="1354" b="0">
                <a:latin typeface="Arial" panose="020B0604020202020204" pitchFamily="34" charset="0"/>
                <a:ea typeface="Times New Roman" panose="02020603050405020304" pitchFamily="18" charset="0"/>
              </a:rPr>
            </a:br>
            <a:endParaRPr lang="ru-RU" altLang="ru-RU" sz="2215" b="0">
              <a:latin typeface="Arial" panose="020B0604020202020204" pitchFamily="34" charset="0"/>
            </a:endParaRPr>
          </a:p>
        </p:txBody>
      </p:sp>
      <p:sp>
        <p:nvSpPr>
          <p:cNvPr id="28" name="Text12"/>
          <p:cNvSpPr>
            <a:spLocks noChangeArrowheads="1"/>
          </p:cNvSpPr>
          <p:nvPr/>
        </p:nvSpPr>
        <p:spPr bwMode="auto">
          <a:xfrm>
            <a:off x="1202385" y="2570233"/>
            <a:ext cx="4539115" cy="32194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406410"/>
            <a:r>
              <a:rPr lang="ru-RU" altLang="de-DE" sz="2092" dirty="0" smtClean="0">
                <a:solidFill>
                  <a:schemeClr val="accent1"/>
                </a:solidFill>
                <a:latin typeface="+mn-lt"/>
              </a:rPr>
              <a:t>Об органе:</a:t>
            </a:r>
            <a:endParaRPr lang="ru-RU" altLang="de-DE" sz="2092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24" name="Text12"/>
          <p:cNvSpPr>
            <a:spLocks noChangeArrowheads="1"/>
          </p:cNvSpPr>
          <p:nvPr/>
        </p:nvSpPr>
        <p:spPr bwMode="auto">
          <a:xfrm>
            <a:off x="6524214" y="3158426"/>
            <a:ext cx="5243801" cy="246221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endParaRPr lang="ru-RU" sz="1600" b="0" dirty="0">
              <a:latin typeface="+mn-lt"/>
            </a:endParaRPr>
          </a:p>
        </p:txBody>
      </p:sp>
      <p:sp>
        <p:nvSpPr>
          <p:cNvPr id="29" name="Line 5"/>
          <p:cNvSpPr>
            <a:spLocks noChangeShapeType="1"/>
          </p:cNvSpPr>
          <p:nvPr/>
        </p:nvSpPr>
        <p:spPr bwMode="auto">
          <a:xfrm>
            <a:off x="6493797" y="3004072"/>
            <a:ext cx="5243801" cy="0"/>
          </a:xfrm>
          <a:prstGeom prst="line">
            <a:avLst/>
          </a:prstGeom>
          <a:noFill/>
          <a:ln w="22225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lIns="0" tIns="0" rIns="0" bIns="0">
            <a:spAutoFit/>
          </a:bodyPr>
          <a:lstStyle/>
          <a:p>
            <a:endParaRPr lang="ru-RU" sz="160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</p:txBody>
      </p:sp>
      <p:sp>
        <p:nvSpPr>
          <p:cNvPr id="30" name="Text12"/>
          <p:cNvSpPr>
            <a:spLocks noChangeArrowheads="1"/>
          </p:cNvSpPr>
          <p:nvPr/>
        </p:nvSpPr>
        <p:spPr bwMode="auto">
          <a:xfrm>
            <a:off x="6455300" y="2570233"/>
            <a:ext cx="5312715" cy="32194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406410"/>
            <a:r>
              <a:rPr lang="ru-RU" altLang="de-DE" sz="2092" dirty="0" smtClean="0">
                <a:solidFill>
                  <a:schemeClr val="tx2"/>
                </a:solidFill>
                <a:latin typeface="+mn-lt"/>
              </a:rPr>
              <a:t>Структура полномочий</a:t>
            </a:r>
            <a:endParaRPr lang="ru-RU" altLang="de-DE" sz="2092" dirty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70653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собенности организации закупок в области</a:t>
            </a:r>
            <a:endParaRPr lang="ru-RU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-8147259" y="1764536"/>
            <a:ext cx="5563675" cy="6232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600" dirty="0"/>
          </a:p>
          <a:p>
            <a:pPr marL="15631">
              <a:spcBef>
                <a:spcPts val="319"/>
              </a:spcBef>
            </a:pPr>
            <a:endParaRPr lang="ru-RU" sz="1600" dirty="0"/>
          </a:p>
        </p:txBody>
      </p:sp>
      <p:sp>
        <p:nvSpPr>
          <p:cNvPr id="32" name="TextBox 31"/>
          <p:cNvSpPr txBox="1"/>
          <p:nvPr/>
        </p:nvSpPr>
        <p:spPr>
          <a:xfrm>
            <a:off x="2639616" y="2080937"/>
            <a:ext cx="5891236" cy="553998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ru-RU" sz="4000" dirty="0" smtClean="0">
                <a:solidFill>
                  <a:schemeClr val="accent1"/>
                </a:solidFill>
                <a:latin typeface="+mn-lt"/>
                <a:cs typeface="Arial" pitchFamily="34" charset="0"/>
              </a:rPr>
              <a:t>Централизация </a:t>
            </a:r>
            <a:endParaRPr lang="ru-RU" sz="4000" dirty="0">
              <a:solidFill>
                <a:schemeClr val="accent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839416" y="1922585"/>
            <a:ext cx="9793088" cy="4386735"/>
          </a:xfrm>
          <a:prstGeom prst="rect">
            <a:avLst/>
          </a:prstGeom>
          <a:noFill/>
          <a:ln w="19050" cmpd="sng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615" tIns="0" rIns="88615" bIns="0" rtlCol="0" anchor="ctr"/>
          <a:lstStyle/>
          <a:p>
            <a:pPr algn="ctr">
              <a:lnSpc>
                <a:spcPct val="90000"/>
              </a:lnSpc>
              <a:spcBef>
                <a:spcPts val="369"/>
              </a:spcBef>
            </a:pPr>
            <a:endParaRPr lang="ru-RU" sz="1846" b="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1055440" y="2719103"/>
            <a:ext cx="9217024" cy="36484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800" i="1" dirty="0" smtClean="0">
                <a:solidFill>
                  <a:schemeClr val="tx2"/>
                </a:solidFill>
                <a:latin typeface="+mn-lt"/>
              </a:rPr>
              <a:t>- Количество заказчиков: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800" b="0" dirty="0" smtClean="0">
                <a:solidFill>
                  <a:schemeClr val="tx2"/>
                </a:solidFill>
                <a:latin typeface="+mn-lt"/>
              </a:rPr>
              <a:t>Государственных: от 300  до 247;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800" b="0" dirty="0" smtClean="0">
                <a:solidFill>
                  <a:schemeClr val="tx2"/>
                </a:solidFill>
                <a:latin typeface="+mn-lt"/>
              </a:rPr>
              <a:t>Муниципальных: от 1600 до 1300;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sz="800" i="1" dirty="0">
              <a:solidFill>
                <a:schemeClr val="tx2"/>
              </a:solidFill>
              <a:latin typeface="+mn-lt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800" i="1" dirty="0" smtClean="0">
                <a:solidFill>
                  <a:schemeClr val="tx2"/>
                </a:solidFill>
                <a:latin typeface="+mn-lt"/>
              </a:rPr>
              <a:t>- Создано подведомственное министерству финансов казенное учреждение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800" i="1" dirty="0" smtClean="0">
                <a:solidFill>
                  <a:schemeClr val="tx2"/>
                </a:solidFill>
                <a:latin typeface="+mn-lt"/>
              </a:rPr>
              <a:t>«Центр организации закупок»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800" i="1" dirty="0" smtClean="0">
                <a:solidFill>
                  <a:schemeClr val="tx2"/>
                </a:solidFill>
                <a:latin typeface="+mn-lt"/>
              </a:rPr>
              <a:t>Уполномоченный орган </a:t>
            </a:r>
            <a:r>
              <a:rPr lang="ru-RU" sz="1800" b="0" dirty="0" smtClean="0">
                <a:solidFill>
                  <a:schemeClr val="tx2"/>
                </a:solidFill>
                <a:latin typeface="+mn-lt"/>
              </a:rPr>
              <a:t>для государственных заказчиков, муниципальных заказчиков по межбюджетным трансфертам по конкурентным процедурам на сумму свыше 100 тысяч рублей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800" i="1" dirty="0" smtClean="0">
                <a:solidFill>
                  <a:schemeClr val="tx2"/>
                </a:solidFill>
                <a:latin typeface="+mn-lt"/>
              </a:rPr>
              <a:t>Специализированная организация </a:t>
            </a:r>
            <a:r>
              <a:rPr lang="ru-RU" sz="1800" b="0" dirty="0" smtClean="0">
                <a:solidFill>
                  <a:schemeClr val="tx2"/>
                </a:solidFill>
                <a:latin typeface="+mn-lt"/>
              </a:rPr>
              <a:t>для муниципальных заказчиков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sz="800" b="0" dirty="0">
              <a:solidFill>
                <a:schemeClr val="tx2"/>
              </a:solidFill>
              <a:latin typeface="+mn-lt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800" i="1" dirty="0" smtClean="0">
                <a:solidFill>
                  <a:schemeClr val="tx2"/>
                </a:solidFill>
                <a:latin typeface="+mn-lt"/>
              </a:rPr>
              <a:t>Совместные закупки 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800" i="1" dirty="0">
              <a:solidFill>
                <a:schemeClr val="tx2"/>
              </a:solidFill>
              <a:latin typeface="+mn-lt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800" i="1" dirty="0" smtClean="0">
                <a:solidFill>
                  <a:schemeClr val="tx2"/>
                </a:solidFill>
                <a:latin typeface="+mn-lt"/>
              </a:rPr>
              <a:t>Сервис малых закупок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sz="1354" b="0" dirty="0">
              <a:solidFill>
                <a:schemeClr val="tx2"/>
              </a:solidFill>
              <a:latin typeface="+mn-lt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sz="1354" b="0" dirty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47108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заимодействие контрольного комитета с </a:t>
            </a:r>
            <a:br>
              <a:rPr lang="ru-RU" dirty="0" smtClean="0"/>
            </a:br>
            <a:r>
              <a:rPr lang="ru-RU" dirty="0" smtClean="0"/>
              <a:t>другими контрольными и надзорными органами региона </a:t>
            </a:r>
            <a:endParaRPr lang="ru-RU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-8147259" y="1764536"/>
            <a:ext cx="5563675" cy="6232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600" dirty="0"/>
          </a:p>
          <a:p>
            <a:pPr marL="15631">
              <a:spcBef>
                <a:spcPts val="319"/>
              </a:spcBef>
            </a:pPr>
            <a:endParaRPr lang="ru-RU" sz="1600" dirty="0"/>
          </a:p>
        </p:txBody>
      </p:sp>
      <p:sp>
        <p:nvSpPr>
          <p:cNvPr id="32" name="TextBox 31"/>
          <p:cNvSpPr txBox="1"/>
          <p:nvPr/>
        </p:nvSpPr>
        <p:spPr>
          <a:xfrm>
            <a:off x="2639616" y="2080937"/>
            <a:ext cx="5891236" cy="553998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ru-RU" sz="4000" dirty="0" smtClean="0">
                <a:solidFill>
                  <a:schemeClr val="accent1"/>
                </a:solidFill>
                <a:latin typeface="+mn-lt"/>
                <a:cs typeface="Arial" pitchFamily="34" charset="0"/>
              </a:rPr>
              <a:t>Сотрудничество</a:t>
            </a:r>
            <a:endParaRPr lang="ru-RU" sz="4000" dirty="0">
              <a:solidFill>
                <a:schemeClr val="accent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839416" y="1922585"/>
            <a:ext cx="9793088" cy="4386735"/>
          </a:xfrm>
          <a:prstGeom prst="rect">
            <a:avLst/>
          </a:prstGeom>
          <a:noFill/>
          <a:ln w="19050" cmpd="sng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615" tIns="0" rIns="88615" bIns="0" rtlCol="0" anchor="ctr"/>
          <a:lstStyle/>
          <a:p>
            <a:pPr algn="ctr">
              <a:lnSpc>
                <a:spcPct val="90000"/>
              </a:lnSpc>
              <a:spcBef>
                <a:spcPts val="369"/>
              </a:spcBef>
            </a:pPr>
            <a:endParaRPr lang="ru-RU" sz="1846" b="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1055440" y="2996952"/>
            <a:ext cx="9217024" cy="3279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800" i="1" dirty="0" smtClean="0">
                <a:solidFill>
                  <a:schemeClr val="tx2"/>
                </a:solidFill>
                <a:latin typeface="+mn-lt"/>
              </a:rPr>
              <a:t>Заключены соглашения о сотрудничестве со счетной палатой Тульской области, Управлением внутренних дел Тульской области; 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1800" i="1" dirty="0" smtClean="0">
              <a:solidFill>
                <a:schemeClr val="tx2"/>
              </a:solidFill>
              <a:latin typeface="+mn-lt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800" i="1" dirty="0" smtClean="0">
                <a:solidFill>
                  <a:schemeClr val="tx2"/>
                </a:solidFill>
                <a:latin typeface="+mn-lt"/>
              </a:rPr>
              <a:t>Достигнута  синхронизация проверок, исключены дублирующие проверки, государственные заказчики проверяются примерно 1 раз в 2 года; 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1800" i="1" dirty="0" smtClean="0">
              <a:solidFill>
                <a:schemeClr val="tx2"/>
              </a:solidFill>
              <a:latin typeface="+mn-lt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800" i="1" dirty="0" smtClean="0">
                <a:solidFill>
                  <a:schemeClr val="tx2"/>
                </a:solidFill>
                <a:latin typeface="+mn-lt"/>
              </a:rPr>
              <a:t>Распространяется практика включения в проверки счетной палаты Тульской области сотрудников контрольного комитета; 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1800" i="1" dirty="0">
              <a:solidFill>
                <a:schemeClr val="tx2"/>
              </a:solidFill>
              <a:latin typeface="+mn-lt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800" i="1" dirty="0" smtClean="0">
                <a:solidFill>
                  <a:schemeClr val="tx2"/>
                </a:solidFill>
                <a:latin typeface="+mn-lt"/>
              </a:rPr>
              <a:t>Используется практика проверок с правоохранительными органами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sz="1354" b="0" dirty="0">
              <a:solidFill>
                <a:schemeClr val="tx2"/>
              </a:solidFill>
              <a:latin typeface="+mn-lt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sz="1354" b="0" dirty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04620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рганизация работы с муниципальными</a:t>
            </a:r>
            <a:br>
              <a:rPr lang="ru-RU" dirty="0" smtClean="0"/>
            </a:br>
            <a:r>
              <a:rPr lang="ru-RU" dirty="0" smtClean="0"/>
              <a:t> контрольными органами</a:t>
            </a:r>
            <a:endParaRPr lang="ru-RU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-8147259" y="1764536"/>
            <a:ext cx="5563675" cy="6232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600" dirty="0"/>
          </a:p>
          <a:p>
            <a:pPr marL="15631">
              <a:spcBef>
                <a:spcPts val="319"/>
              </a:spcBef>
            </a:pPr>
            <a:endParaRPr lang="ru-RU" sz="1600" dirty="0"/>
          </a:p>
        </p:txBody>
      </p:sp>
      <p:sp>
        <p:nvSpPr>
          <p:cNvPr id="32" name="TextBox 31"/>
          <p:cNvSpPr txBox="1"/>
          <p:nvPr/>
        </p:nvSpPr>
        <p:spPr>
          <a:xfrm>
            <a:off x="2639616" y="2080937"/>
            <a:ext cx="5891236" cy="553998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ru-RU" sz="4000" dirty="0" smtClean="0">
                <a:solidFill>
                  <a:schemeClr val="accent1"/>
                </a:solidFill>
                <a:latin typeface="+mn-lt"/>
                <a:cs typeface="Arial" pitchFamily="34" charset="0"/>
              </a:rPr>
              <a:t>«Рука помощи»</a:t>
            </a:r>
            <a:endParaRPr lang="ru-RU" sz="4000" dirty="0">
              <a:solidFill>
                <a:schemeClr val="accent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839416" y="1922585"/>
            <a:ext cx="9793088" cy="4386735"/>
          </a:xfrm>
          <a:prstGeom prst="rect">
            <a:avLst/>
          </a:prstGeom>
          <a:noFill/>
          <a:ln w="19050" cmpd="sng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615" tIns="0" rIns="88615" bIns="0" rtlCol="0" anchor="ctr"/>
          <a:lstStyle/>
          <a:p>
            <a:pPr algn="ctr">
              <a:lnSpc>
                <a:spcPct val="90000"/>
              </a:lnSpc>
              <a:spcBef>
                <a:spcPts val="369"/>
              </a:spcBef>
            </a:pPr>
            <a:endParaRPr lang="ru-RU" sz="1846" b="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1055440" y="2996952"/>
            <a:ext cx="9217024" cy="3525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800" i="1" dirty="0" smtClean="0">
                <a:solidFill>
                  <a:schemeClr val="tx2"/>
                </a:solidFill>
                <a:latin typeface="+mn-lt"/>
              </a:rPr>
              <a:t>Завершена работа по формированию на уровне муниципальных образований органов внешнего, процедурного и внутреннего (в части закупок) контроля; 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1800" i="1" dirty="0" smtClean="0">
              <a:solidFill>
                <a:schemeClr val="tx2"/>
              </a:solidFill>
              <a:latin typeface="+mn-lt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800" i="1" dirty="0" smtClean="0">
                <a:solidFill>
                  <a:schemeClr val="tx2"/>
                </a:solidFill>
                <a:latin typeface="+mn-lt"/>
              </a:rPr>
              <a:t>Мониторинг деятельности органов внешнего финансового контроля осуществляет счетная палата Тульской области, процедурного и внутреннего (в части закупок) – контрольный комитет Тульской области; 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1800" i="1" dirty="0">
              <a:solidFill>
                <a:schemeClr val="tx2"/>
              </a:solidFill>
              <a:latin typeface="+mn-lt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800" i="1" dirty="0" smtClean="0">
                <a:solidFill>
                  <a:schemeClr val="tx2"/>
                </a:solidFill>
                <a:latin typeface="+mn-lt"/>
              </a:rPr>
              <a:t>Проблемы совмещения нескольких функций одним органом; 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1800" i="1" dirty="0">
              <a:solidFill>
                <a:schemeClr val="tx2"/>
              </a:solidFill>
              <a:latin typeface="+mn-lt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800" i="1" dirty="0" smtClean="0">
                <a:solidFill>
                  <a:schemeClr val="tx2"/>
                </a:solidFill>
                <a:latin typeface="+mn-lt"/>
              </a:rPr>
              <a:t>Кадровая проблема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1600" i="1" dirty="0" smtClean="0">
              <a:solidFill>
                <a:schemeClr val="tx2"/>
              </a:solidFill>
              <a:latin typeface="+mn-lt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sz="1354" b="0" dirty="0">
              <a:solidFill>
                <a:schemeClr val="tx2"/>
              </a:solidFill>
              <a:latin typeface="+mn-lt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sz="1354" b="0" dirty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07958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рганизация ведомственного контроля</a:t>
            </a:r>
            <a:endParaRPr lang="ru-RU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-8147259" y="1764536"/>
            <a:ext cx="5563675" cy="6232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600" dirty="0"/>
          </a:p>
          <a:p>
            <a:pPr marL="15631">
              <a:spcBef>
                <a:spcPts val="319"/>
              </a:spcBef>
            </a:pPr>
            <a:endParaRPr lang="ru-RU" sz="1600" dirty="0"/>
          </a:p>
        </p:txBody>
      </p:sp>
      <p:sp>
        <p:nvSpPr>
          <p:cNvPr id="32" name="TextBox 31"/>
          <p:cNvSpPr txBox="1"/>
          <p:nvPr/>
        </p:nvSpPr>
        <p:spPr>
          <a:xfrm>
            <a:off x="2639616" y="2080937"/>
            <a:ext cx="5891236" cy="553998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ru-RU" sz="4000" dirty="0" smtClean="0">
                <a:solidFill>
                  <a:schemeClr val="accent1"/>
                </a:solidFill>
                <a:latin typeface="+mn-lt"/>
                <a:cs typeface="Arial" pitchFamily="34" charset="0"/>
              </a:rPr>
              <a:t>Первые шаг</a:t>
            </a:r>
            <a:r>
              <a:rPr lang="ru-RU" sz="4000" dirty="0">
                <a:solidFill>
                  <a:schemeClr val="accent1"/>
                </a:solidFill>
                <a:latin typeface="+mn-lt"/>
                <a:cs typeface="Arial" pitchFamily="34" charset="0"/>
              </a:rPr>
              <a:t>и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839416" y="1922585"/>
            <a:ext cx="9793088" cy="4386735"/>
          </a:xfrm>
          <a:prstGeom prst="rect">
            <a:avLst/>
          </a:prstGeom>
          <a:noFill/>
          <a:ln w="19050" cmpd="sng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615" tIns="0" rIns="88615" bIns="0" rtlCol="0" anchor="ctr"/>
          <a:lstStyle/>
          <a:p>
            <a:pPr algn="ctr">
              <a:lnSpc>
                <a:spcPct val="90000"/>
              </a:lnSpc>
              <a:spcBef>
                <a:spcPts val="369"/>
              </a:spcBef>
            </a:pPr>
            <a:endParaRPr lang="ru-RU" sz="1846" b="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1055440" y="2996952"/>
            <a:ext cx="9217024" cy="34945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800" i="1" dirty="0" smtClean="0">
                <a:solidFill>
                  <a:schemeClr val="tx2"/>
                </a:solidFill>
                <a:latin typeface="+mn-lt"/>
              </a:rPr>
              <a:t>Организован и реализуется во всех органах исполнительной власти - ГРБС, имеющих подведомственные учреждения; 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1800" i="1" dirty="0">
              <a:solidFill>
                <a:schemeClr val="tx2"/>
              </a:solidFill>
              <a:latin typeface="+mn-lt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800" i="1" dirty="0" smtClean="0">
                <a:solidFill>
                  <a:schemeClr val="tx2"/>
                </a:solidFill>
                <a:latin typeface="+mn-lt"/>
              </a:rPr>
              <a:t>Мониторинг осуществляется контрольным комитетом; 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1800" i="1" dirty="0">
              <a:solidFill>
                <a:schemeClr val="tx2"/>
              </a:solidFill>
              <a:latin typeface="+mn-lt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800" i="1" dirty="0" smtClean="0">
                <a:solidFill>
                  <a:schemeClr val="tx2"/>
                </a:solidFill>
                <a:latin typeface="+mn-lt"/>
              </a:rPr>
              <a:t>При  ненадлежащей организации работы по данному направлению ставится вопрос об ответственности руководителей;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1800" i="1" dirty="0">
              <a:solidFill>
                <a:schemeClr val="tx2"/>
              </a:solidFill>
              <a:latin typeface="+mn-lt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800" i="1" dirty="0" smtClean="0">
                <a:solidFill>
                  <a:schemeClr val="tx2"/>
                </a:solidFill>
                <a:latin typeface="+mn-lt"/>
              </a:rPr>
              <a:t>Основной упор именно на предотвращение нарушений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1600" i="1" dirty="0" smtClean="0">
              <a:solidFill>
                <a:schemeClr val="tx2"/>
              </a:solidFill>
              <a:latin typeface="+mn-lt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1600" i="1" dirty="0" smtClean="0">
              <a:solidFill>
                <a:schemeClr val="tx2"/>
              </a:solidFill>
              <a:latin typeface="+mn-lt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sz="1354" b="0" dirty="0">
              <a:solidFill>
                <a:schemeClr val="tx2"/>
              </a:solidFill>
              <a:latin typeface="+mn-lt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sz="1354" b="0" dirty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82814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овышение эффективности административных производств</a:t>
            </a:r>
            <a:endParaRPr lang="ru-RU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-8147259" y="1764536"/>
            <a:ext cx="5563675" cy="6232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600" dirty="0"/>
          </a:p>
          <a:p>
            <a:pPr marL="15631">
              <a:spcBef>
                <a:spcPts val="319"/>
              </a:spcBef>
            </a:pPr>
            <a:endParaRPr lang="ru-RU" sz="1600" dirty="0"/>
          </a:p>
        </p:txBody>
      </p:sp>
      <p:sp>
        <p:nvSpPr>
          <p:cNvPr id="32" name="TextBox 31"/>
          <p:cNvSpPr txBox="1"/>
          <p:nvPr/>
        </p:nvSpPr>
        <p:spPr>
          <a:xfrm>
            <a:off x="2639616" y="2080937"/>
            <a:ext cx="5891236" cy="553998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ru-RU" sz="4000" dirty="0" smtClean="0">
                <a:solidFill>
                  <a:schemeClr val="accent1"/>
                </a:solidFill>
                <a:latin typeface="+mn-lt"/>
                <a:cs typeface="Arial" pitchFamily="34" charset="0"/>
              </a:rPr>
              <a:t>Унификация</a:t>
            </a:r>
            <a:endParaRPr lang="ru-RU" sz="4000" dirty="0">
              <a:solidFill>
                <a:schemeClr val="accent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839416" y="1922585"/>
            <a:ext cx="9793088" cy="4386735"/>
          </a:xfrm>
          <a:prstGeom prst="rect">
            <a:avLst/>
          </a:prstGeom>
          <a:noFill/>
          <a:ln w="19050" cmpd="sng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615" tIns="0" rIns="88615" bIns="0" rtlCol="0" anchor="ctr"/>
          <a:lstStyle/>
          <a:p>
            <a:pPr algn="ctr">
              <a:lnSpc>
                <a:spcPct val="90000"/>
              </a:lnSpc>
              <a:spcBef>
                <a:spcPts val="369"/>
              </a:spcBef>
            </a:pPr>
            <a:endParaRPr lang="ru-RU" sz="1846" b="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1055440" y="2996952"/>
            <a:ext cx="9217024" cy="4540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800" i="1" dirty="0" smtClean="0">
                <a:solidFill>
                  <a:schemeClr val="tx2"/>
                </a:solidFill>
                <a:latin typeface="+mn-lt"/>
              </a:rPr>
              <a:t>В рамках административных производств комитет рассматривает собственные материалы и информацию поступающую от: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800" i="1" dirty="0" smtClean="0">
                <a:solidFill>
                  <a:schemeClr val="tx2"/>
                </a:solidFill>
                <a:latin typeface="+mn-lt"/>
              </a:rPr>
              <a:t>      счетной палаты Тульской области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800" i="1" dirty="0" smtClean="0">
                <a:solidFill>
                  <a:schemeClr val="tx2"/>
                </a:solidFill>
                <a:latin typeface="+mn-lt"/>
              </a:rPr>
              <a:t>      прокуратуры;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800" i="1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800" i="1" dirty="0" smtClean="0">
                <a:solidFill>
                  <a:schemeClr val="tx2"/>
                </a:solidFill>
                <a:latin typeface="+mn-lt"/>
              </a:rPr>
              <a:t>     муниципальных контрольных органов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800" i="1" dirty="0" smtClean="0">
                <a:solidFill>
                  <a:schemeClr val="tx2"/>
                </a:solidFill>
                <a:latin typeface="+mn-lt"/>
              </a:rPr>
              <a:t>      органов, реализующих ведомственный контроль. 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1800" i="1" dirty="0" smtClean="0">
              <a:solidFill>
                <a:schemeClr val="tx2"/>
              </a:solidFill>
              <a:latin typeface="+mn-lt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800" i="1" dirty="0" smtClean="0">
                <a:solidFill>
                  <a:schemeClr val="tx2"/>
                </a:solidFill>
                <a:latin typeface="+mn-lt"/>
              </a:rPr>
              <a:t>Проблема в необходимости перепроверки поступающих материалов; 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1800" i="1" dirty="0">
              <a:solidFill>
                <a:schemeClr val="tx2"/>
              </a:solidFill>
              <a:latin typeface="+mn-lt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800" i="1" dirty="0" smtClean="0">
                <a:solidFill>
                  <a:schemeClr val="tx2"/>
                </a:solidFill>
                <a:latin typeface="+mn-lt"/>
              </a:rPr>
              <a:t>Проводится работа по унификации описания, квалификации нарушений, а также комплекта прилагаемых документов 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1600" i="1" dirty="0">
              <a:solidFill>
                <a:schemeClr val="tx2"/>
              </a:solidFill>
              <a:latin typeface="+mn-lt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1600" i="1" dirty="0">
              <a:solidFill>
                <a:schemeClr val="tx2"/>
              </a:solidFill>
              <a:latin typeface="+mn-lt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1600" i="1" dirty="0" smtClean="0">
              <a:solidFill>
                <a:schemeClr val="tx2"/>
              </a:solidFill>
              <a:latin typeface="+mn-lt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1600" i="1" dirty="0" smtClean="0">
              <a:solidFill>
                <a:schemeClr val="tx2"/>
              </a:solidFill>
              <a:latin typeface="+mn-lt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sz="1354" b="0" dirty="0">
              <a:solidFill>
                <a:schemeClr val="tx2"/>
              </a:solidFill>
              <a:latin typeface="+mn-lt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sz="1354" b="0" dirty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72006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Борьба с коррупцией</a:t>
            </a:r>
            <a:endParaRPr lang="ru-RU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-8147259" y="1764536"/>
            <a:ext cx="5563675" cy="6232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600" dirty="0"/>
          </a:p>
          <a:p>
            <a:pPr marL="15631">
              <a:spcBef>
                <a:spcPts val="319"/>
              </a:spcBef>
            </a:pPr>
            <a:endParaRPr lang="ru-RU" sz="1600" dirty="0"/>
          </a:p>
        </p:txBody>
      </p:sp>
      <p:sp>
        <p:nvSpPr>
          <p:cNvPr id="32" name="TextBox 31"/>
          <p:cNvSpPr txBox="1"/>
          <p:nvPr/>
        </p:nvSpPr>
        <p:spPr>
          <a:xfrm>
            <a:off x="2639616" y="2080937"/>
            <a:ext cx="5891236" cy="553998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ru-RU" sz="4000" dirty="0" smtClean="0">
                <a:solidFill>
                  <a:schemeClr val="accent1"/>
                </a:solidFill>
                <a:latin typeface="+mn-lt"/>
                <a:cs typeface="Arial" pitchFamily="34" charset="0"/>
              </a:rPr>
              <a:t>Противодействие</a:t>
            </a:r>
            <a:endParaRPr lang="ru-RU" sz="4000" dirty="0">
              <a:solidFill>
                <a:schemeClr val="accent1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839416" y="1922585"/>
            <a:ext cx="9793088" cy="4386735"/>
          </a:xfrm>
          <a:prstGeom prst="rect">
            <a:avLst/>
          </a:prstGeom>
          <a:noFill/>
          <a:ln w="19050" cmpd="sng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615" tIns="0" rIns="88615" bIns="0" rtlCol="0" anchor="ctr"/>
          <a:lstStyle/>
          <a:p>
            <a:pPr algn="ctr">
              <a:lnSpc>
                <a:spcPct val="90000"/>
              </a:lnSpc>
              <a:spcBef>
                <a:spcPts val="369"/>
              </a:spcBef>
            </a:pPr>
            <a:endParaRPr lang="ru-RU" sz="1846" b="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1055440" y="2996952"/>
            <a:ext cx="9217024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800" i="1" dirty="0" smtClean="0">
                <a:solidFill>
                  <a:schemeClr val="tx2"/>
                </a:solidFill>
                <a:latin typeface="+mn-lt"/>
              </a:rPr>
              <a:t>С противодействием при проведении контрольных мероприятий сталкивались: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800" i="1" dirty="0" smtClean="0">
                <a:solidFill>
                  <a:schemeClr val="tx2"/>
                </a:solidFill>
                <a:latin typeface="+mn-lt"/>
              </a:rPr>
              <a:t>      54% сотрудников контрольного органа региона;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800" i="1" dirty="0">
                <a:solidFill>
                  <a:schemeClr val="tx2"/>
                </a:solidFill>
                <a:latin typeface="+mn-lt"/>
              </a:rPr>
              <a:t> </a:t>
            </a:r>
            <a:r>
              <a:rPr lang="ru-RU" sz="1800" i="1" dirty="0" smtClean="0">
                <a:solidFill>
                  <a:schemeClr val="tx2"/>
                </a:solidFill>
                <a:latin typeface="+mn-lt"/>
              </a:rPr>
              <a:t>     10% сотрудников муниципальных контрольных органов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sz="800" i="1" dirty="0">
              <a:solidFill>
                <a:schemeClr val="tx2"/>
              </a:solidFill>
              <a:latin typeface="+mn-lt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800" i="1" dirty="0" smtClean="0">
                <a:solidFill>
                  <a:schemeClr val="tx2"/>
                </a:solidFill>
                <a:latin typeface="+mn-lt"/>
              </a:rPr>
              <a:t>Основные формы и виды: отказ в предоставлении документов, воздействие на документы, уговоры, отказ от предоставления пояснений, предоставление ложных пояснений, уклонение от явки, угрозы в той или иной форме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800" i="1" dirty="0">
              <a:solidFill>
                <a:schemeClr val="tx2"/>
              </a:solidFill>
              <a:latin typeface="+mn-lt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800" i="1" dirty="0" smtClean="0">
                <a:solidFill>
                  <a:schemeClr val="tx2"/>
                </a:solidFill>
                <a:latin typeface="+mn-lt"/>
              </a:rPr>
              <a:t>Цели: предотвращение проведения контрольных мероприятий или искажение их результатов, исключение из итогового акта нарушений, минимизация выявленного ущерба  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800" i="1" dirty="0">
              <a:solidFill>
                <a:schemeClr val="tx2"/>
              </a:solidFill>
              <a:latin typeface="+mn-lt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800" i="1" dirty="0" smtClean="0">
                <a:solidFill>
                  <a:schemeClr val="tx2"/>
                </a:solidFill>
                <a:latin typeface="+mn-lt"/>
              </a:rPr>
              <a:t>Высокая латентность 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1600" i="1" dirty="0" smtClean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91170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КОНТАКТЫ</a:t>
            </a:r>
            <a:endParaRPr lang="en-US" b="1" dirty="0"/>
          </a:p>
        </p:txBody>
      </p:sp>
      <p:sp>
        <p:nvSpPr>
          <p:cNvPr id="36" name="Text12"/>
          <p:cNvSpPr>
            <a:spLocks noChangeArrowheads="1"/>
          </p:cNvSpPr>
          <p:nvPr/>
        </p:nvSpPr>
        <p:spPr bwMode="auto">
          <a:xfrm>
            <a:off x="910493" y="2731214"/>
            <a:ext cx="3270738" cy="135421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953" lvl="1" defTabSz="406410"/>
            <a:r>
              <a:rPr lang="ru-RU" altLang="de-DE" sz="1800" b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город Тула, проспект Ленина, д.2</a:t>
            </a:r>
          </a:p>
          <a:p>
            <a:pPr marL="1953" lvl="1" defTabSz="406410"/>
            <a:r>
              <a:rPr lang="en-US" altLang="de-DE" sz="1800" b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hlinkClick r:id="rId3"/>
              </a:rPr>
              <a:t>kontrkom@tularegion.ru</a:t>
            </a:r>
            <a:endParaRPr lang="en-US" altLang="de-DE" sz="1800" b="0" dirty="0" smtClean="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  <a:p>
            <a:pPr marL="1953" lvl="1" defTabSz="406410"/>
            <a:r>
              <a:rPr lang="ru-RU" sz="1800" b="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тел.: 8(4872) 24-53-00, </a:t>
            </a:r>
          </a:p>
          <a:p>
            <a:pPr marL="1953" lvl="1" defTabSz="406410"/>
            <a:r>
              <a:rPr lang="ru-RU" sz="1800" b="0" dirty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факс: 8(4872) 56-72-17</a:t>
            </a:r>
            <a:endParaRPr lang="ru-RU" altLang="de-DE" sz="1800" b="0" dirty="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  <a:p>
            <a:pPr marL="1953" lvl="1" defTabSz="406410"/>
            <a:endParaRPr lang="ru-RU" altLang="de-DE" sz="1600" b="0" dirty="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</p:txBody>
      </p:sp>
      <p:sp>
        <p:nvSpPr>
          <p:cNvPr id="37" name="Line 5"/>
          <p:cNvSpPr>
            <a:spLocks noChangeShapeType="1"/>
          </p:cNvSpPr>
          <p:nvPr/>
        </p:nvSpPr>
        <p:spPr bwMode="auto">
          <a:xfrm>
            <a:off x="910492" y="2576860"/>
            <a:ext cx="4465428" cy="0"/>
          </a:xfrm>
          <a:prstGeom prst="line">
            <a:avLst/>
          </a:prstGeom>
          <a:noFill/>
          <a:ln w="22225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endParaRPr lang="ru-RU" sz="160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</p:txBody>
      </p:sp>
      <p:sp>
        <p:nvSpPr>
          <p:cNvPr id="38" name="Text12"/>
          <p:cNvSpPr>
            <a:spLocks noChangeArrowheads="1"/>
          </p:cNvSpPr>
          <p:nvPr/>
        </p:nvSpPr>
        <p:spPr bwMode="auto">
          <a:xfrm>
            <a:off x="899662" y="2125696"/>
            <a:ext cx="4620273" cy="32194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406410"/>
            <a:r>
              <a:rPr lang="ru-RU" altLang="de-DE" sz="2092" dirty="0" smtClean="0">
                <a:solidFill>
                  <a:schemeClr val="tx2"/>
                </a:solidFill>
                <a:latin typeface="+mn-lt"/>
              </a:rPr>
              <a:t>Контрольный комитет Тульской области </a:t>
            </a:r>
            <a:endParaRPr lang="ru-RU" altLang="de-DE" sz="2092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2" name="Text12"/>
          <p:cNvSpPr>
            <a:spLocks noChangeArrowheads="1"/>
          </p:cNvSpPr>
          <p:nvPr/>
        </p:nvSpPr>
        <p:spPr bwMode="auto">
          <a:xfrm>
            <a:off x="6312024" y="2731214"/>
            <a:ext cx="5100392" cy="132343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953" lvl="1" defTabSz="406410"/>
            <a:r>
              <a:rPr lang="ru-RU" altLang="de-DE" sz="1800" b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Председатель комитета, </a:t>
            </a:r>
            <a:r>
              <a:rPr lang="ru-RU" altLang="de-DE" sz="1800" b="0" dirty="0" err="1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к.ю.н</a:t>
            </a:r>
            <a:r>
              <a:rPr lang="ru-RU" altLang="de-DE" sz="1800" b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.</a:t>
            </a:r>
          </a:p>
          <a:p>
            <a:pPr marL="1953" lvl="1" defTabSz="406410"/>
            <a:r>
              <a:rPr lang="ru-RU" altLang="de-DE" sz="1800" b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hlinkClick r:id="rId4"/>
              </a:rPr>
              <a:t>А</a:t>
            </a:r>
            <a:r>
              <a:rPr lang="en-US" altLang="de-DE" sz="1800" b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  <a:hlinkClick r:id="rId4"/>
              </a:rPr>
              <a:t>leksandr.Bibikov@tularegion.ru</a:t>
            </a:r>
            <a:endParaRPr lang="en-US" altLang="de-DE" sz="1800" b="0" dirty="0" smtClean="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  <a:p>
            <a:pPr marL="1953" lvl="1" defTabSz="406410"/>
            <a:r>
              <a:rPr lang="en-US" altLang="de-DE" sz="1800" b="0" dirty="0" smtClean="0">
                <a:solidFill>
                  <a:schemeClr val="tx1">
                    <a:lumMod val="90000"/>
                    <a:lumOff val="10000"/>
                  </a:schemeClr>
                </a:solidFill>
                <a:latin typeface="+mn-lt"/>
              </a:rPr>
              <a:t>+79805899130</a:t>
            </a:r>
            <a:endParaRPr lang="en-US" altLang="de-DE" sz="1800" b="0" dirty="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  <a:p>
            <a:pPr marL="1953" lvl="1" defTabSz="406410"/>
            <a:endParaRPr lang="en-US" altLang="de-DE" sz="1600" b="0" dirty="0" smtClean="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  <a:p>
            <a:pPr marL="1953" lvl="1" defTabSz="406410"/>
            <a:endParaRPr lang="ru-RU" altLang="de-DE" sz="1600" b="0" dirty="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</p:txBody>
      </p:sp>
      <p:sp>
        <p:nvSpPr>
          <p:cNvPr id="43" name="Line 21"/>
          <p:cNvSpPr>
            <a:spLocks noChangeShapeType="1"/>
          </p:cNvSpPr>
          <p:nvPr/>
        </p:nvSpPr>
        <p:spPr bwMode="auto">
          <a:xfrm>
            <a:off x="6384032" y="2576860"/>
            <a:ext cx="5028384" cy="0"/>
          </a:xfrm>
          <a:prstGeom prst="line">
            <a:avLst/>
          </a:prstGeom>
          <a:noFill/>
          <a:ln w="22225">
            <a:solidFill>
              <a:schemeClr val="bg1">
                <a:lumMod val="65000"/>
              </a:schemeClr>
            </a:solidFill>
            <a:round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endParaRPr lang="ru-RU" sz="1600">
              <a:solidFill>
                <a:schemeClr val="tx1">
                  <a:lumMod val="90000"/>
                  <a:lumOff val="10000"/>
                </a:schemeClr>
              </a:solidFill>
              <a:latin typeface="+mn-lt"/>
            </a:endParaRPr>
          </a:p>
        </p:txBody>
      </p:sp>
      <p:sp>
        <p:nvSpPr>
          <p:cNvPr id="44" name="Text12"/>
          <p:cNvSpPr>
            <a:spLocks noChangeArrowheads="1"/>
          </p:cNvSpPr>
          <p:nvPr/>
        </p:nvSpPr>
        <p:spPr bwMode="auto">
          <a:xfrm>
            <a:off x="6456040" y="2125697"/>
            <a:ext cx="4521561" cy="321948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406410"/>
            <a:r>
              <a:rPr lang="ru-RU" altLang="de-DE" sz="2092" dirty="0" smtClean="0">
                <a:solidFill>
                  <a:schemeClr val="tx2"/>
                </a:solidFill>
                <a:latin typeface="+mn-lt"/>
              </a:rPr>
              <a:t>Бибиков Александр Александрович</a:t>
            </a:r>
          </a:p>
        </p:txBody>
      </p:sp>
    </p:spTree>
    <p:extLst>
      <p:ext uri="{BB962C8B-B14F-4D97-AF65-F5344CB8AC3E}">
        <p14:creationId xmlns:p14="http://schemas.microsoft.com/office/powerpoint/2010/main" val="1257939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69wUdlOES9W1j.iSTDU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akR4W4Y0q.hEp29bnJ3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gyreV53UuQxyFaNbCmF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akR4W4Y0q.hEp29bnJ3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nh8md2102_x1DZVUkXx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akR4W4Y0q.hEp29bnJ3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jNDmchyEKjzFiLJZg7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PHyuoAsE.WfpKbpzCqq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kcCHCYhkWTIiFVMB4t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tjZZmatkShmFK7.iNAD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VZS4yJ60qPLbGnti2Kb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HkQZI6lE6dpOStDmb5P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BO91klUE6efw9mBOD7J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74Lt1pfEeuusKCiCw0P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YihxDE5kuGURPGQNXaB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tmelsgBUePgy_NUQgnr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j1aONpTEqE1dUmS2alw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vD57k2kkioNfvuRO01P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nnPd2UkkyemQ7VEdmVL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tJw2qYZkKcgu3gH5n07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7rphS760.dwShkznpIa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FLCClHJUiePClkAmyAf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IfFQ86REWA20n7iS1e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9R5_eF.UupMJ3jX9q84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ovSxaYIE.t.W5qXUwdG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Lq1BfX6UKd4PWOjJIW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V94YnhPUyIX6w3ihMl_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P7L7ra9EC.bEf6UELX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IlOwkk8U6NkylWX2to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qARlA5FUCfgMmLjRr1q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m3GnYTPUGGPI5GUHRp.A"/>
</p:tagLst>
</file>

<file path=ppt/theme/theme1.xml><?xml version="1.0" encoding="utf-8"?>
<a:theme xmlns:a="http://schemas.openxmlformats.org/drawingml/2006/main" name="A4rb_Premium">
  <a:themeElements>
    <a:clrScheme name="ГлавКонтроль">
      <a:dk1>
        <a:sysClr val="windowText" lastClr="000000"/>
      </a:dk1>
      <a:lt1>
        <a:sysClr val="window" lastClr="FFFFFF"/>
      </a:lt1>
      <a:dk2>
        <a:srgbClr val="2C4155"/>
      </a:dk2>
      <a:lt2>
        <a:srgbClr val="B39170"/>
      </a:lt2>
      <a:accent1>
        <a:srgbClr val="B12726"/>
      </a:accent1>
      <a:accent2>
        <a:srgbClr val="D48887"/>
      </a:accent2>
      <a:accent3>
        <a:srgbClr val="D0E1EA"/>
      </a:accent3>
      <a:accent4>
        <a:srgbClr val="6EA9C0"/>
      </a:accent4>
      <a:accent5>
        <a:srgbClr val="2E8FAB"/>
      </a:accent5>
      <a:accent6>
        <a:srgbClr val="2B657E"/>
      </a:accent6>
      <a:hlink>
        <a:srgbClr val="0070C0"/>
      </a:hlink>
      <a:folHlink>
        <a:srgbClr val="581312"/>
      </a:folHlink>
    </a:clrScheme>
    <a:fontScheme name="Другая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 cmpd="sng">
          <a:solidFill>
            <a:schemeClr val="accent3"/>
          </a:solidFill>
        </a:ln>
        <a:effectLst/>
      </a:spPr>
      <a:bodyPr lIns="72000" tIns="0" rIns="72000" bIns="0" rtlCol="0" anchor="ctr"/>
      <a:lstStyle>
        <a:defPPr>
          <a:lnSpc>
            <a:spcPct val="90000"/>
          </a:lnSpc>
          <a:spcBef>
            <a:spcPts val="300"/>
          </a:spcBef>
          <a:defRPr sz="1500" b="0" dirty="0" smtClean="0">
            <a:solidFill>
              <a:schemeClr val="tx1"/>
            </a:solidFill>
            <a:latin typeface="+mn-lt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wrap="square" lIns="0" tIns="0" rIns="0" bIns="0" rtlCol="0">
        <a:spAutoFit/>
      </a:bodyPr>
      <a:lstStyle>
        <a:defPPr>
          <a:lnSpc>
            <a:spcPct val="90000"/>
          </a:lnSpc>
          <a:spcBef>
            <a:spcPts val="0"/>
          </a:spcBef>
          <a:defRPr sz="1500" b="0" dirty="0" smtClean="0">
            <a:latin typeface="+mn-lt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4rb_Premium</Template>
  <TotalTime>2693</TotalTime>
  <Words>495</Words>
  <Application>Microsoft Office PowerPoint</Application>
  <PresentationFormat>Произвольный</PresentationFormat>
  <Paragraphs>108</Paragraphs>
  <Slides>9</Slides>
  <Notes>9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0" baseType="lpstr">
      <vt:lpstr>A4rb_Premium</vt:lpstr>
      <vt:lpstr>ОТЧЁТ</vt:lpstr>
      <vt:lpstr>Контрольный комитет Тульской области </vt:lpstr>
      <vt:lpstr>Особенности организации закупок в области</vt:lpstr>
      <vt:lpstr>Взаимодействие контрольного комитета с  другими контрольными и надзорными органами региона </vt:lpstr>
      <vt:lpstr>Организация работы с муниципальными  контрольными органами</vt:lpstr>
      <vt:lpstr>Организация ведомственного контроля</vt:lpstr>
      <vt:lpstr>Повышение эффективности административных производств</vt:lpstr>
      <vt:lpstr>Борьба с коррупцией</vt:lpstr>
      <vt:lpstr>КОНТАКТЫ</vt:lpstr>
    </vt:vector>
  </TitlesOfParts>
  <Company>Roland Berger Strategy Consultant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abina kulahmedova</dc:creator>
  <cp:lastModifiedBy>Пахтусова Людмила Юрьевна</cp:lastModifiedBy>
  <cp:revision>231</cp:revision>
  <cp:lastPrinted>2016-04-26T10:52:06Z</cp:lastPrinted>
  <dcterms:created xsi:type="dcterms:W3CDTF">2013-07-09T14:28:21Z</dcterms:created>
  <dcterms:modified xsi:type="dcterms:W3CDTF">2016-04-26T10:52:14Z</dcterms:modified>
  <cp:category>RB Template</cp:category>
  <cp:contentStatus>20120201</cp:contentStatus>
</cp:coreProperties>
</file>